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7"/>
  </p:notesMasterIdLst>
  <p:sldIdLst>
    <p:sldId id="1791" r:id="rId2"/>
    <p:sldId id="668" r:id="rId3"/>
    <p:sldId id="1792" r:id="rId4"/>
    <p:sldId id="1793" r:id="rId5"/>
    <p:sldId id="1794" r:id="rId6"/>
    <p:sldId id="1797" r:id="rId7"/>
    <p:sldId id="1798" r:id="rId8"/>
    <p:sldId id="1799" r:id="rId9"/>
    <p:sldId id="1800" r:id="rId10"/>
    <p:sldId id="1801" r:id="rId11"/>
    <p:sldId id="1802" r:id="rId12"/>
    <p:sldId id="1803" r:id="rId13"/>
    <p:sldId id="1804" r:id="rId14"/>
    <p:sldId id="1805" r:id="rId15"/>
    <p:sldId id="1806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8" d="100"/>
          <a:sy n="68" d="100"/>
        </p:scale>
        <p:origin x="616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2691A5-4BE0-42C8-89D5-38AD97B9FF4E}" type="datetimeFigureOut">
              <a:rPr lang="en-US" smtClean="0"/>
              <a:t>4/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B1BE4-65A8-4936-A7EB-0346EBAD8B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33656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59237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9687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647700"/>
            <a:ext cx="5400000" cy="5479895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19623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66A5C41-60AA-4C25-8080-4F0DFF19B9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1625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66A5C41-60AA-4C25-8080-4F0DFF19B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0FFDC9-4859-4F86-9E1A-7D269FFCA2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96969" y="2057400"/>
            <a:ext cx="11201400" cy="3996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97681" y="651600"/>
            <a:ext cx="112014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96979" y="1639969"/>
            <a:ext cx="11201400" cy="360000"/>
          </a:xfrm>
        </p:spPr>
        <p:txBody>
          <a:bodyPr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DE3B7BC5-B06B-40CF-B184-81BB1F9871A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0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BE32CF0A-0DCD-47C5-AA9A-AD708FE81EE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6969" y="6132378"/>
            <a:ext cx="11201400" cy="252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8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0215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two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954C1B-9B85-4D98-9B7C-DD27C71008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5065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954C1B-9B85-4D98-9B7C-DD27C71008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97745" y="6132547"/>
            <a:ext cx="11203200" cy="252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800" dirty="0"/>
            </a:lvl1pPr>
          </a:lstStyle>
          <a:p>
            <a:pPr lvl="0">
              <a:spcAft>
                <a:spcPts val="0"/>
              </a:spcAft>
            </a:pPr>
            <a:r>
              <a:rPr lang="en-US" dirty="0"/>
              <a:t>Click to edit Master text styles</a:t>
            </a:r>
          </a:p>
          <a:p>
            <a:pPr lvl="0">
              <a:spcAft>
                <a:spcPts val="0"/>
              </a:spcAft>
            </a:pPr>
            <a:endParaRPr lang="en-US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4C9C465-5F81-4C4E-AE36-82D75EF23C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7681" y="651600"/>
            <a:ext cx="112014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A108B9C2-D6E9-4F22-A358-F556910FD39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0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9385AE09-84CB-40D7-9DEA-F4FDCC779B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12516" y="1640168"/>
            <a:ext cx="5486400" cy="360000"/>
          </a:xfrm>
        </p:spPr>
        <p:txBody>
          <a:bodyPr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7DBC7EB-62D2-4040-B1DD-56E1F55811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7745" y="1640168"/>
            <a:ext cx="5486400" cy="360000"/>
          </a:xfrm>
        </p:spPr>
        <p:txBody>
          <a:bodyPr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3AFF79-94AA-43F5-A0A5-FED7412D5A6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97745" y="2057399"/>
            <a:ext cx="5486400" cy="3996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24ED36A-C42A-4B02-9FE8-7456AFD8641A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12516" y="2057399"/>
            <a:ext cx="5486400" cy="3996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99396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86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/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EDC0DB8-2787-4A0E-BF2C-F9615621A9B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9687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53FE2732-C5AC-4559-9342-07D0B3BDAF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AF2EE87F-E879-4462-AC5C-F6FA0F8A49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054E7F26-1B24-4B0E-864F-6AF48C13B2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5F3FB5C3-DAAE-450D-B280-0BC8643BB3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1EEB1204-08A3-4F97-9501-E4FAFA8FD5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9F99D877-2472-459F-8541-F7C4373CB9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85059CF7-C1CE-46A5-9A1B-F8334C94A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5C023227-92E3-41AF-89C8-325E4D6266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3910EAD0-E587-4EB1-8F0A-AF5F2ECE60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6B7953AE-60F3-4161-83B1-261A456C09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42146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E7CE24-FDA7-453D-848B-51687DD68D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5580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9E7CE24-FDA7-453D-848B-51687DD68D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seCode">
            <a:extLst>
              <a:ext uri="{FF2B5EF4-FFF2-40B4-BE49-F238E27FC236}">
                <a16:creationId xmlns:a16="http://schemas.microsoft.com/office/drawing/2014/main" id="{4D067F15-7090-4FD4-8B55-76CB78DD9BD0}"/>
              </a:ext>
            </a:extLst>
          </p:cNvPr>
          <p:cNvSpPr txBox="1"/>
          <p:nvPr userDrawn="1"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A13EFA35-A937-47F7-93E5-9465F8876AC6}"/>
              </a:ext>
            </a:extLst>
          </p:cNvPr>
          <p:cNvSpPr txBox="1"/>
          <p:nvPr userDrawn="1"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9B4359-4F20-4FAE-B7A0-C54983A639ED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F894959D-5837-4BF7-8AA5-2572907695C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3200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4599561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0635050-01AE-41CE-9250-53C6289070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4953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0635050-01AE-41CE-9250-53C628907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FCADB32-14E1-40ED-ABFA-39BA17EE1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7681" y="651600"/>
            <a:ext cx="112014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0E9FF4B9-2071-4F05-988E-0575B99A670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0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16767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chart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F31A6A5-F7B1-48AE-B408-2B0B365FF5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7503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F31A6A5-F7B1-48AE-B408-2B0B365FF5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32AFEA1-6FE2-4AA6-AADD-13F033F8A9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538" y="651600"/>
            <a:ext cx="112014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E631EDFD-92A2-43FC-A116-27DC2AE8765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8538" y="304800"/>
            <a:ext cx="11201400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70096EF1-254B-4922-BEDF-CA3255353A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8538" y="1638299"/>
            <a:ext cx="11201400" cy="360000"/>
          </a:xfrm>
        </p:spPr>
        <p:txBody>
          <a:bodyPr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7BEA56D-AAC5-477C-ACC6-7E3246BD08D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8538" y="6131910"/>
            <a:ext cx="11201400" cy="252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9B17AFC-C89E-4AEE-ADF7-5485393BAFEE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98538" y="2066724"/>
            <a:ext cx="11201400" cy="3996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37330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two columns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D8C86C-41DF-4FC8-AAFC-E04709DE62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2327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D8C86C-41DF-4FC8-AAFC-E04709DE62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35E2B66-A793-4024-BA15-AA410671421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8538" y="6133714"/>
            <a:ext cx="11203200" cy="252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91EA47B3-DAF6-428A-A323-2001A77C0B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7681" y="651600"/>
            <a:ext cx="11203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99C7F41A-F8C0-4781-BE4A-7D6DCD7C6FA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3200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523A38F-6B77-4607-B5B6-F684E8ED5D5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12516" y="1640516"/>
            <a:ext cx="5486400" cy="360000"/>
          </a:xfrm>
        </p:spPr>
        <p:txBody>
          <a:bodyPr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83A8EC9-A2D1-434F-B774-2CA6261818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7681" y="1640168"/>
            <a:ext cx="5486400" cy="360000"/>
          </a:xfrm>
        </p:spPr>
        <p:txBody>
          <a:bodyPr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2C7B1DDC-9756-41E8-9F3A-94D1176F18A1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97681" y="2063750"/>
            <a:ext cx="5486400" cy="3996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1222C159-F5F0-411B-8A92-27E49137CA6C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12516" y="2063750"/>
            <a:ext cx="5486400" cy="3996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257245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F8FD89F-482B-4AF9-900A-5BA2DBDE301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97570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4B321D47-1AE7-42B2-8C49-2BE2D02810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accent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24B1CA9-3A55-41D7-A277-8C3445AB16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60C81AC0-233F-4638-A82C-0E8B5E7124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83AF813C-C975-4939-AD65-34F74EAD5F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DABFD676-85B1-4F89-ACB7-217A1A11A5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115332E4-4D91-461B-9649-D8D831FC2B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3D094DD5-179B-42FE-A04C-94E98E23F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1D434C23-672C-470F-BF32-401B59F2B0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5FB7A9B0-2BA9-485C-A151-3AB823E5EC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23B43EE4-1C15-419C-AB4B-F9DBF97B5F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91809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97570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647700"/>
            <a:ext cx="5400000" cy="547989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6619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9C69D3A-9342-44F5-B9CA-54CF037C26A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97570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918C70E5-7AF3-4E95-870F-DE0CEBAACA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accent1"/>
                </a:solidFill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36F3D1FD-C295-49F1-BDC4-7303D59959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Rectangle 7">
              <a:extLst>
                <a:ext uri="{FF2B5EF4-FFF2-40B4-BE49-F238E27FC236}">
                  <a16:creationId xmlns:a16="http://schemas.microsoft.com/office/drawing/2014/main" id="{6108E91A-96CB-4F56-86E8-C0E2738294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50A4CE42-CA03-4073-BBA8-0BDF31C3FE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9">
              <a:extLst>
                <a:ext uri="{FF2B5EF4-FFF2-40B4-BE49-F238E27FC236}">
                  <a16:creationId xmlns:a16="http://schemas.microsoft.com/office/drawing/2014/main" id="{E5B07CB7-3810-42E1-907C-0E9B0BE6C8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D10581EB-241E-411F-91ED-EAA5496047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4104E715-D893-4295-8339-2B75A7BDA7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608A9120-92D1-400E-B1C2-2AEF92A7DC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E0BF5E88-7BF3-4667-9305-25B93D5296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FEC5F6DB-BB32-489D-A2BC-DCE3A6F65D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11837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aseCode">
            <a:extLst>
              <a:ext uri="{FF2B5EF4-FFF2-40B4-BE49-F238E27FC236}">
                <a16:creationId xmlns:a16="http://schemas.microsoft.com/office/drawing/2014/main" id="{FB491C58-FDC6-4EE5-A67A-26493A855541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57B5F086-A360-45DE-818B-343106613D71}"/>
              </a:ext>
            </a:extLst>
          </p:cNvPr>
          <p:cNvSpPr txBox="1"/>
          <p:nvPr userDrawn="1"/>
        </p:nvSpPr>
        <p:spPr>
          <a:xfrm>
            <a:off x="501649" y="6477001"/>
            <a:ext cx="5355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EB3962E-D404-46D8-9AF0-E33D98DCD8F3}"/>
              </a:ext>
            </a:extLst>
          </p:cNvPr>
          <p:cNvSpPr txBox="1"/>
          <p:nvPr userDrawn="1"/>
        </p:nvSpPr>
        <p:spPr>
          <a:xfrm>
            <a:off x="11382377" y="6477001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25245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4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8000" y="1705670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8000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aseCode">
            <a:extLst>
              <a:ext uri="{FF2B5EF4-FFF2-40B4-BE49-F238E27FC236}">
                <a16:creationId xmlns:a16="http://schemas.microsoft.com/office/drawing/2014/main" id="{EA8D1A0E-2938-4680-9D37-3C2F0128FF3F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6EFF4D1E-EF3F-4F30-B848-EEF44B181E11}"/>
              </a:ext>
            </a:extLst>
          </p:cNvPr>
          <p:cNvSpPr txBox="1"/>
          <p:nvPr userDrawn="1"/>
        </p:nvSpPr>
        <p:spPr>
          <a:xfrm>
            <a:off x="501649" y="6477001"/>
            <a:ext cx="5355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3ACFBBC-0846-4864-AC28-7A4A3ABB1653}"/>
              </a:ext>
            </a:extLst>
          </p:cNvPr>
          <p:cNvSpPr txBox="1"/>
          <p:nvPr userDrawn="1"/>
        </p:nvSpPr>
        <p:spPr>
          <a:xfrm>
            <a:off x="11382377" y="6477001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83945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D0DB801-6C6E-478E-BB10-8624955E3E8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28000" y="1705670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91BFAD2-A383-46D8-868F-4252F2955AE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528000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aseCode">
            <a:extLst>
              <a:ext uri="{FF2B5EF4-FFF2-40B4-BE49-F238E27FC236}">
                <a16:creationId xmlns:a16="http://schemas.microsoft.com/office/drawing/2014/main" id="{89221EEF-A22B-4244-9709-F29E7F5696CE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A846D0A3-A49A-472C-B477-FB541D983E37}"/>
              </a:ext>
            </a:extLst>
          </p:cNvPr>
          <p:cNvSpPr txBox="1"/>
          <p:nvPr userDrawn="1"/>
        </p:nvSpPr>
        <p:spPr>
          <a:xfrm>
            <a:off x="501649" y="6477001"/>
            <a:ext cx="5355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91A2080-D983-419A-B6A8-D25E10D51627}"/>
              </a:ext>
            </a:extLst>
          </p:cNvPr>
          <p:cNvSpPr txBox="1"/>
          <p:nvPr userDrawn="1"/>
        </p:nvSpPr>
        <p:spPr>
          <a:xfrm>
            <a:off x="11382377" y="6477001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75596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1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8F7DD34-29B7-4460-9D03-E90CAD0BBD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1281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8F7DD34-29B7-4460-9D03-E90CAD0BBD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7315" y="1705670"/>
            <a:ext cx="10517717" cy="1592403"/>
          </a:xfrm>
        </p:spPr>
        <p:txBody>
          <a:bodyPr vert="horz"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aseCode">
            <a:extLst>
              <a:ext uri="{FF2B5EF4-FFF2-40B4-BE49-F238E27FC236}">
                <a16:creationId xmlns:a16="http://schemas.microsoft.com/office/drawing/2014/main" id="{329C7A72-389C-42FF-910E-C73B2B70791C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852C62FC-FBBC-42E4-BF84-5928ED66A81B}"/>
              </a:ext>
            </a:extLst>
          </p:cNvPr>
          <p:cNvSpPr txBox="1"/>
          <p:nvPr userDrawn="1"/>
        </p:nvSpPr>
        <p:spPr>
          <a:xfrm>
            <a:off x="501649" y="6477001"/>
            <a:ext cx="5355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178B5A-D3A7-4776-8609-1815F1A9A015}"/>
              </a:ext>
            </a:extLst>
          </p:cNvPr>
          <p:cNvSpPr txBox="1"/>
          <p:nvPr userDrawn="1"/>
        </p:nvSpPr>
        <p:spPr>
          <a:xfrm>
            <a:off x="11382377" y="6477001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1751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5049338-7875-4927-82E0-03C95D8320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8658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5049338-7875-4927-82E0-03C95D8320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AA52354-AD0C-4278-A20C-E161AEB4D16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0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77460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A96709-DC00-4570-B140-895E15716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583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A96709-DC00-4570-B140-895E15716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538" y="651600"/>
            <a:ext cx="112014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8F5CB4A9-3C7F-4829-BD7E-C42F0517765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0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343606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73828893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0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5" name="CaseCode"/>
          <p:cNvSpPr txBox="1"/>
          <p:nvPr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8" name="Copyright"/>
          <p:cNvSpPr txBox="1"/>
          <p:nvPr/>
        </p:nvSpPr>
        <p:spPr>
          <a:xfrm>
            <a:off x="501649" y="6477001"/>
            <a:ext cx="5355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97681" y="1638300"/>
            <a:ext cx="11201400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504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6" orient="horz" pos="4032">
          <p15:clr>
            <a:srgbClr val="F26B43"/>
          </p15:clr>
        </p15:guide>
        <p15:guide id="51" orient="horz" pos="4080">
          <p15:clr>
            <a:srgbClr val="F26B43"/>
          </p15:clr>
        </p15:guide>
        <p15:guide id="52" pos="3840">
          <p15:clr>
            <a:srgbClr val="F26B43"/>
          </p15:clr>
        </p15:guide>
        <p15:guide id="53" pos="3912">
          <p15:clr>
            <a:srgbClr val="F26B43"/>
          </p15:clr>
        </p15:guide>
        <p15:guide id="54" pos="3768">
          <p15:clr>
            <a:srgbClr val="F26B43"/>
          </p15:clr>
        </p15:guide>
        <p15:guide id="63" pos="312">
          <p15:clr>
            <a:srgbClr val="F26B43"/>
          </p15:clr>
        </p15:guide>
        <p15:guide id="64" orient="horz" pos="1032">
          <p15:clr>
            <a:srgbClr val="F26B43"/>
          </p15:clr>
        </p15:guide>
        <p15:guide id="65" orient="horz" pos="408">
          <p15:clr>
            <a:srgbClr val="F26B43"/>
          </p15:clr>
        </p15:guide>
        <p15:guide id="66" orient="horz" pos="192">
          <p15:clr>
            <a:srgbClr val="F26B43"/>
          </p15:clr>
        </p15:guide>
        <p15:guide id="67" pos="7368">
          <p15:clr>
            <a:srgbClr val="F26B43"/>
          </p15:clr>
        </p15:guide>
        <p15:guide id="68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9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CCAB432B-E0E7-4F80-A4A1-76DCDC1FBF7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" r="15"/>
          <a:stretch>
            <a:fillRect/>
          </a:stretch>
        </p:blipFill>
        <p:spPr/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C2F03B24-5911-487D-A541-83315BB9229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MX" dirty="0">
                <a:solidFill>
                  <a:srgbClr val="43B02A"/>
                </a:solidFill>
              </a:rPr>
              <a:t>T</a:t>
            </a:r>
            <a:r>
              <a:rPr lang="en-US" dirty="0">
                <a:solidFill>
                  <a:srgbClr val="43B02A"/>
                </a:solidFill>
              </a:rPr>
              <a:t>emperature Predic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207E-7FD3-4B75-ADFE-CC565F8DB8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es-MX" dirty="0"/>
              <a:t>M</a:t>
            </a:r>
            <a:r>
              <a:rPr lang="en-US" dirty="0"/>
              <a:t>arch 31</a:t>
            </a:r>
            <a:r>
              <a:rPr lang="en-US" baseline="30000" dirty="0"/>
              <a:t>st</a:t>
            </a:r>
            <a:r>
              <a:rPr lang="en-US" dirty="0"/>
              <a:t>, 2023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091ED7-C412-487B-88AC-F1B76F6BA2F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082594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picture containing outdoor object, light, star, dark&#10;&#10;Description automatically generated">
            <a:extLst>
              <a:ext uri="{FF2B5EF4-FFF2-40B4-BE49-F238E27FC236}">
                <a16:creationId xmlns:a16="http://schemas.microsoft.com/office/drawing/2014/main" id="{D4FD5EB1-B54B-4224-8C22-3A32618E7DA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9" r="739"/>
          <a:stretch>
            <a:fillRect/>
          </a:stretch>
        </p:blipFill>
        <p:spPr>
          <a:xfrm>
            <a:off x="6980196" y="602295"/>
            <a:ext cx="5400000" cy="5479895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1B28110-5D77-4902-8A34-5F9141885A5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MX" dirty="0"/>
              <a:t>Training &amp; </a:t>
            </a:r>
            <a:r>
              <a:rPr lang="es-MX" dirty="0" err="1"/>
              <a:t>Testing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09D9565-7A79-4AD6-933A-301FF778E38E}"/>
              </a:ext>
            </a:extLst>
          </p:cNvPr>
          <p:cNvSpPr txBox="1"/>
          <p:nvPr/>
        </p:nvSpPr>
        <p:spPr>
          <a:xfrm>
            <a:off x="589280" y="1605280"/>
            <a:ext cx="4446269" cy="19697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s-MX" sz="2400" dirty="0">
                <a:solidFill>
                  <a:srgbClr val="313131"/>
                </a:solidFill>
              </a:rPr>
              <a:t>Linear </a:t>
            </a:r>
            <a:r>
              <a:rPr lang="es-MX" sz="2400" dirty="0" err="1">
                <a:solidFill>
                  <a:srgbClr val="313131"/>
                </a:solidFill>
              </a:rPr>
              <a:t>Regression</a:t>
            </a:r>
            <a:endParaRPr lang="es-MX" sz="2400" dirty="0">
              <a:solidFill>
                <a:srgbClr val="313131"/>
              </a:solidFill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s-MX" dirty="0">
              <a:solidFill>
                <a:srgbClr val="313131"/>
              </a:solidFill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s-MX" sz="2400" dirty="0" err="1">
                <a:solidFill>
                  <a:srgbClr val="313131"/>
                </a:solidFill>
              </a:rPr>
              <a:t>Random</a:t>
            </a:r>
            <a:r>
              <a:rPr lang="es-MX" sz="2400" dirty="0">
                <a:solidFill>
                  <a:srgbClr val="313131"/>
                </a:solidFill>
              </a:rPr>
              <a:t> Forest </a:t>
            </a:r>
            <a:r>
              <a:rPr lang="es-MX" sz="2400" dirty="0" err="1">
                <a:solidFill>
                  <a:srgbClr val="313131"/>
                </a:solidFill>
              </a:rPr>
              <a:t>Regression</a:t>
            </a:r>
            <a:endParaRPr lang="es-MX" sz="2400" dirty="0">
              <a:solidFill>
                <a:srgbClr val="313131"/>
              </a:solidFill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s-MX" dirty="0">
              <a:solidFill>
                <a:srgbClr val="313131"/>
              </a:solidFill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s-MX" sz="2400" dirty="0" err="1">
                <a:solidFill>
                  <a:srgbClr val="313131"/>
                </a:solidFill>
              </a:rPr>
              <a:t>Supper</a:t>
            </a:r>
            <a:r>
              <a:rPr lang="es-MX" sz="2400" dirty="0">
                <a:solidFill>
                  <a:srgbClr val="313131"/>
                </a:solidFill>
              </a:rPr>
              <a:t> Vector </a:t>
            </a:r>
            <a:r>
              <a:rPr lang="es-MX" sz="2400" dirty="0" err="1">
                <a:solidFill>
                  <a:srgbClr val="313131"/>
                </a:solidFill>
              </a:rPr>
              <a:t>Regression</a:t>
            </a:r>
            <a:r>
              <a:rPr lang="es-MX" sz="2400" dirty="0">
                <a:solidFill>
                  <a:srgbClr val="313131"/>
                </a:solidFill>
              </a:rPr>
              <a:t> (SVR)</a:t>
            </a:r>
            <a:endParaRPr lang="en-US" sz="2400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58625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3D55173-E2F1-45FA-818A-4FA2F62EEF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7811" y="5653567"/>
            <a:ext cx="4446269" cy="895983"/>
          </a:xfrm>
        </p:spPr>
        <p:txBody>
          <a:bodyPr/>
          <a:lstStyle/>
          <a:p>
            <a:r>
              <a:rPr lang="es-MX" dirty="0"/>
              <a:t>Linear </a:t>
            </a:r>
            <a:r>
              <a:rPr lang="es-MX" dirty="0" err="1"/>
              <a:t>Regression</a:t>
            </a:r>
            <a:endParaRPr lang="en-US" dirty="0"/>
          </a:p>
        </p:txBody>
      </p:sp>
      <p:pic>
        <p:nvPicPr>
          <p:cNvPr id="6" name="Picture 5" descr="Chart, scatter chart&#10;&#10;Description automatically generated">
            <a:extLst>
              <a:ext uri="{FF2B5EF4-FFF2-40B4-BE49-F238E27FC236}">
                <a16:creationId xmlns:a16="http://schemas.microsoft.com/office/drawing/2014/main" id="{0A8B94DA-1F68-42B9-8EDE-853D9564FA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155" y="1300480"/>
            <a:ext cx="4665206" cy="4087784"/>
          </a:xfrm>
          <a:prstGeom prst="rect">
            <a:avLst/>
          </a:prstGeom>
        </p:spPr>
      </p:pic>
      <p:pic>
        <p:nvPicPr>
          <p:cNvPr id="8" name="Picture 7" descr="Chart, line chart&#10;&#10;Description automatically generated">
            <a:extLst>
              <a:ext uri="{FF2B5EF4-FFF2-40B4-BE49-F238E27FC236}">
                <a16:creationId xmlns:a16="http://schemas.microsoft.com/office/drawing/2014/main" id="{3E7FBCAD-DCBD-4D66-9C29-2178E2404D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9540" y="1103630"/>
            <a:ext cx="4650740" cy="4650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03161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3D55173-E2F1-45FA-818A-4FA2F62EEF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7811" y="5653567"/>
            <a:ext cx="4446269" cy="895983"/>
          </a:xfrm>
        </p:spPr>
        <p:txBody>
          <a:bodyPr/>
          <a:lstStyle/>
          <a:p>
            <a:r>
              <a:rPr lang="es-MX" dirty="0"/>
              <a:t>Super Vector </a:t>
            </a:r>
            <a:r>
              <a:rPr lang="es-MX" dirty="0" err="1"/>
              <a:t>Regression</a:t>
            </a:r>
            <a:r>
              <a:rPr lang="es-MX" dirty="0"/>
              <a:t> </a:t>
            </a:r>
            <a:endParaRPr lang="en-US" dirty="0"/>
          </a:p>
        </p:txBody>
      </p:sp>
      <p:pic>
        <p:nvPicPr>
          <p:cNvPr id="4" name="Picture 3" descr="Chart, scatter chart&#10;&#10;Description automatically generated">
            <a:extLst>
              <a:ext uri="{FF2B5EF4-FFF2-40B4-BE49-F238E27FC236}">
                <a16:creationId xmlns:a16="http://schemas.microsoft.com/office/drawing/2014/main" id="{EA294683-BD21-4FFE-B113-E89B096858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874" y="1219200"/>
            <a:ext cx="5043893" cy="4419600"/>
          </a:xfrm>
          <a:prstGeom prst="rect">
            <a:avLst/>
          </a:prstGeom>
        </p:spPr>
      </p:pic>
      <p:pic>
        <p:nvPicPr>
          <p:cNvPr id="6" name="Picture 5" descr="Chart, line chart&#10;&#10;Description automatically generated">
            <a:extLst>
              <a:ext uri="{FF2B5EF4-FFF2-40B4-BE49-F238E27FC236}">
                <a16:creationId xmlns:a16="http://schemas.microsoft.com/office/drawing/2014/main" id="{5F92CBCD-5236-47FA-ABAD-160C7BF607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0226" y="1098550"/>
            <a:ext cx="4660900" cy="466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629247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3D55173-E2F1-45FA-818A-4FA2F62EEF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7811" y="5653567"/>
            <a:ext cx="4446269" cy="895983"/>
          </a:xfrm>
        </p:spPr>
        <p:txBody>
          <a:bodyPr/>
          <a:lstStyle/>
          <a:p>
            <a:r>
              <a:rPr lang="es-MX" dirty="0" err="1"/>
              <a:t>Random</a:t>
            </a:r>
            <a:r>
              <a:rPr lang="es-MX" dirty="0"/>
              <a:t> Forest </a:t>
            </a:r>
            <a:r>
              <a:rPr lang="es-MX" dirty="0" err="1"/>
              <a:t>Regression</a:t>
            </a:r>
            <a:endParaRPr lang="en-US" dirty="0"/>
          </a:p>
        </p:txBody>
      </p:sp>
      <p:pic>
        <p:nvPicPr>
          <p:cNvPr id="4" name="Picture 3" descr="Chart, scatter chart&#10;&#10;Description automatically generated">
            <a:extLst>
              <a:ext uri="{FF2B5EF4-FFF2-40B4-BE49-F238E27FC236}">
                <a16:creationId xmlns:a16="http://schemas.microsoft.com/office/drawing/2014/main" id="{B2B32071-237F-4805-95CC-7F1BBF01825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384" y="1137920"/>
            <a:ext cx="5229416" cy="4582160"/>
          </a:xfrm>
          <a:prstGeom prst="rect">
            <a:avLst/>
          </a:prstGeom>
        </p:spPr>
      </p:pic>
      <p:pic>
        <p:nvPicPr>
          <p:cNvPr id="6" name="Picture 5" descr="Chart, line chart&#10;&#10;Description automatically generated">
            <a:extLst>
              <a:ext uri="{FF2B5EF4-FFF2-40B4-BE49-F238E27FC236}">
                <a16:creationId xmlns:a16="http://schemas.microsoft.com/office/drawing/2014/main" id="{2DB7150B-6832-4BD0-A86F-342F95915AD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1940" y="1055370"/>
            <a:ext cx="4747260" cy="4747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5013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Diagram&#10;&#10;Description automatically generated">
            <a:extLst>
              <a:ext uri="{FF2B5EF4-FFF2-40B4-BE49-F238E27FC236}">
                <a16:creationId xmlns:a16="http://schemas.microsoft.com/office/drawing/2014/main" id="{4BFA7E3B-DB7A-49D8-A5D1-774CDC91DB85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9" r="739"/>
          <a:stretch>
            <a:fillRect/>
          </a:stretch>
        </p:blipFill>
        <p:spPr>
          <a:xfrm>
            <a:off x="7051316" y="1543050"/>
            <a:ext cx="3716907" cy="37719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7D82480-138E-4399-ADFA-94AED56916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4416" y="2981008"/>
            <a:ext cx="4446269" cy="895983"/>
          </a:xfrm>
        </p:spPr>
        <p:txBody>
          <a:bodyPr/>
          <a:lstStyle/>
          <a:p>
            <a:r>
              <a:rPr lang="es-MX" dirty="0" err="1"/>
              <a:t>What</a:t>
            </a:r>
            <a:r>
              <a:rPr lang="es-MX" dirty="0"/>
              <a:t> </a:t>
            </a:r>
            <a:r>
              <a:rPr lang="es-MX" dirty="0" err="1"/>
              <a:t>is</a:t>
            </a:r>
            <a:r>
              <a:rPr lang="es-MX" dirty="0"/>
              <a:t> </a:t>
            </a:r>
            <a:r>
              <a:rPr lang="es-MX" dirty="0" err="1"/>
              <a:t>next</a:t>
            </a:r>
            <a:r>
              <a:rPr lang="es-MX" dirty="0"/>
              <a:t>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7443644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19759D4-14A1-4B34-A2B1-5ECBABC1E7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72865" y="2859567"/>
            <a:ext cx="4446269" cy="895983"/>
          </a:xfrm>
        </p:spPr>
        <p:txBody>
          <a:bodyPr/>
          <a:lstStyle/>
          <a:p>
            <a:pPr algn="ctr"/>
            <a:r>
              <a:rPr lang="es-MX" dirty="0" err="1"/>
              <a:t>Thanks</a:t>
            </a:r>
            <a:r>
              <a:rPr lang="es-MX" dirty="0"/>
              <a:t> </a:t>
            </a:r>
            <a:r>
              <a:rPr lang="es-MX" dirty="0" err="1"/>
              <a:t>for</a:t>
            </a:r>
            <a:r>
              <a:rPr lang="es-MX" dirty="0"/>
              <a:t> </a:t>
            </a:r>
            <a:r>
              <a:rPr lang="es-MX" dirty="0" err="1"/>
              <a:t>you</a:t>
            </a:r>
            <a:r>
              <a:rPr lang="es-MX" dirty="0"/>
              <a:t> </a:t>
            </a:r>
            <a:r>
              <a:rPr lang="es-MX" dirty="0" err="1"/>
              <a:t>attention</a:t>
            </a:r>
            <a:r>
              <a:rPr lang="es-MX" dirty="0"/>
              <a:t>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320797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hlinkClick r:id="rId3" action="ppaction://hlinksldjump"/>
            <a:extLst>
              <a:ext uri="{FF2B5EF4-FFF2-40B4-BE49-F238E27FC236}">
                <a16:creationId xmlns:a16="http://schemas.microsoft.com/office/drawing/2014/main" id="{29AAFBA2-FC8F-4650-86AD-46C95B937B46}"/>
              </a:ext>
            </a:extLst>
          </p:cNvPr>
          <p:cNvSpPr/>
          <p:nvPr/>
        </p:nvSpPr>
        <p:spPr bwMode="gray">
          <a:xfrm>
            <a:off x="528000" y="3240314"/>
            <a:ext cx="1371600" cy="2179246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verview</a:t>
            </a:r>
          </a:p>
        </p:txBody>
      </p:sp>
      <p:sp>
        <p:nvSpPr>
          <p:cNvPr id="5" name="Rectangle 4">
            <a:hlinkClick r:id="" action="ppaction://noaction"/>
            <a:extLst>
              <a:ext uri="{FF2B5EF4-FFF2-40B4-BE49-F238E27FC236}">
                <a16:creationId xmlns:a16="http://schemas.microsoft.com/office/drawing/2014/main" id="{A8955FF1-0CD5-4A56-BCD3-08FD69929E07}"/>
              </a:ext>
            </a:extLst>
          </p:cNvPr>
          <p:cNvSpPr/>
          <p:nvPr/>
        </p:nvSpPr>
        <p:spPr bwMode="gray">
          <a:xfrm>
            <a:off x="2492700" y="3240314"/>
            <a:ext cx="1371600" cy="2179246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derstanding the data</a:t>
            </a:r>
          </a:p>
        </p:txBody>
      </p:sp>
      <p:sp>
        <p:nvSpPr>
          <p:cNvPr id="6" name="Rectangle 5">
            <a:hlinkClick r:id="" action="ppaction://noaction"/>
            <a:extLst>
              <a:ext uri="{FF2B5EF4-FFF2-40B4-BE49-F238E27FC236}">
                <a16:creationId xmlns:a16="http://schemas.microsoft.com/office/drawing/2014/main" id="{C41F7D27-8EDD-4566-9BA4-EB0FE55BC221}"/>
              </a:ext>
            </a:extLst>
          </p:cNvPr>
          <p:cNvSpPr/>
          <p:nvPr/>
        </p:nvSpPr>
        <p:spPr bwMode="gray">
          <a:xfrm>
            <a:off x="4457401" y="3240314"/>
            <a:ext cx="1371600" cy="217924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Exploration</a:t>
            </a: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tangle 6">
            <a:hlinkClick r:id="" action="ppaction://noaction"/>
            <a:extLst>
              <a:ext uri="{FF2B5EF4-FFF2-40B4-BE49-F238E27FC236}">
                <a16:creationId xmlns:a16="http://schemas.microsoft.com/office/drawing/2014/main" id="{B35E0EB8-22CF-4E45-AEA0-02D21C8467F4}"/>
              </a:ext>
            </a:extLst>
          </p:cNvPr>
          <p:cNvSpPr/>
          <p:nvPr/>
        </p:nvSpPr>
        <p:spPr bwMode="gray">
          <a:xfrm>
            <a:off x="6472837" y="3240314"/>
            <a:ext cx="1371600" cy="2179246"/>
          </a:xfrm>
          <a:prstGeom prst="rect">
            <a:avLst/>
          </a:prstGeom>
          <a:solidFill>
            <a:srgbClr val="C4D6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ining and Testing</a:t>
            </a:r>
          </a:p>
        </p:txBody>
      </p:sp>
      <p:sp>
        <p:nvSpPr>
          <p:cNvPr id="11" name="Rectangle 10">
            <a:hlinkClick r:id="" action="ppaction://noaction"/>
            <a:extLst>
              <a:ext uri="{FF2B5EF4-FFF2-40B4-BE49-F238E27FC236}">
                <a16:creationId xmlns:a16="http://schemas.microsoft.com/office/drawing/2014/main" id="{B6878C4C-3FAB-4BB8-A1F3-3C7F004303F2}"/>
              </a:ext>
            </a:extLst>
          </p:cNvPr>
          <p:cNvSpPr/>
          <p:nvPr/>
        </p:nvSpPr>
        <p:spPr bwMode="gray">
          <a:xfrm>
            <a:off x="10348600" y="3240314"/>
            <a:ext cx="1371600" cy="2179246"/>
          </a:xfrm>
          <a:prstGeom prst="rect">
            <a:avLst/>
          </a:prstGeom>
          <a:solidFill>
            <a:schemeClr val="bg2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Q&amp;A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9DECBF3-53D4-444F-AC54-88556B6EDE19}"/>
              </a:ext>
            </a:extLst>
          </p:cNvPr>
          <p:cNvSpPr txBox="1"/>
          <p:nvPr/>
        </p:nvSpPr>
        <p:spPr>
          <a:xfrm>
            <a:off x="483809" y="1069108"/>
            <a:ext cx="11224382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tents</a:t>
            </a:r>
          </a:p>
        </p:txBody>
      </p:sp>
      <p:sp>
        <p:nvSpPr>
          <p:cNvPr id="13" name="Rectangle 12">
            <a:hlinkClick r:id="" action="ppaction://noaction"/>
            <a:extLst>
              <a:ext uri="{FF2B5EF4-FFF2-40B4-BE49-F238E27FC236}">
                <a16:creationId xmlns:a16="http://schemas.microsoft.com/office/drawing/2014/main" id="{9EF20069-F198-4B18-8AED-BF724343DC8E}"/>
              </a:ext>
            </a:extLst>
          </p:cNvPr>
          <p:cNvSpPr/>
          <p:nvPr/>
        </p:nvSpPr>
        <p:spPr bwMode="gray">
          <a:xfrm>
            <a:off x="8422693" y="3240314"/>
            <a:ext cx="1371600" cy="2179246"/>
          </a:xfrm>
          <a:prstGeom prst="rect">
            <a:avLst/>
          </a:prstGeom>
          <a:solidFill>
            <a:srgbClr val="6FC2B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is next? </a:t>
            </a: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1610571-AC65-4D58-B9AE-F44E8349D70A}"/>
              </a:ext>
            </a:extLst>
          </p:cNvPr>
          <p:cNvGrpSpPr>
            <a:grpSpLocks noChangeAspect="1"/>
          </p:cNvGrpSpPr>
          <p:nvPr/>
        </p:nvGrpSpPr>
        <p:grpSpPr>
          <a:xfrm>
            <a:off x="497570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4E5DCB65-1B47-4000-BFA3-BB71726623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accent1"/>
                </a:solidFill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B76A09D-11E8-4C2B-8325-3BBFE58F03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Rectangle 7">
              <a:extLst>
                <a:ext uri="{FF2B5EF4-FFF2-40B4-BE49-F238E27FC236}">
                  <a16:creationId xmlns:a16="http://schemas.microsoft.com/office/drawing/2014/main" id="{1E8F9254-1597-4720-B151-CF4D1E78FD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68319002-5882-48A7-9D42-D9386744C5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Rectangle 9">
              <a:extLst>
                <a:ext uri="{FF2B5EF4-FFF2-40B4-BE49-F238E27FC236}">
                  <a16:creationId xmlns:a16="http://schemas.microsoft.com/office/drawing/2014/main" id="{239CA56A-0A9F-47EE-849D-F8D1A3D339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10">
              <a:extLst>
                <a:ext uri="{FF2B5EF4-FFF2-40B4-BE49-F238E27FC236}">
                  <a16:creationId xmlns:a16="http://schemas.microsoft.com/office/drawing/2014/main" id="{DDF7231B-2F04-49C9-87C7-850041A276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0C65BF33-6EB6-4A7D-AFD9-12A34C82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6D94F78B-1775-45D4-BDA4-9C6DD86A41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93AFFE8E-35D3-4C7C-852B-008F16805A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A2E5694D-68F5-48D6-A711-EADB6A4FAE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327148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10CA136-4E07-4C48-A2B1-441257FFE2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1650" y="981852"/>
            <a:ext cx="4446269" cy="895983"/>
          </a:xfrm>
        </p:spPr>
        <p:txBody>
          <a:bodyPr/>
          <a:lstStyle/>
          <a:p>
            <a:r>
              <a:rPr lang="es-MX" dirty="0"/>
              <a:t>Overview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45F865B-075C-4822-821D-7DC2CBD1DDDB}"/>
              </a:ext>
            </a:extLst>
          </p:cNvPr>
          <p:cNvGrpSpPr/>
          <p:nvPr/>
        </p:nvGrpSpPr>
        <p:grpSpPr bwMode="gray">
          <a:xfrm>
            <a:off x="7589768" y="1877835"/>
            <a:ext cx="3723409" cy="3984625"/>
            <a:chOff x="2473036" y="1584329"/>
            <a:chExt cx="4186238" cy="4479925"/>
          </a:xfrm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F6F9A5CA-CD5C-4502-B543-EE636D007DD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3036" y="2727215"/>
              <a:ext cx="2520915" cy="1141333"/>
            </a:xfrm>
            <a:custGeom>
              <a:avLst/>
              <a:gdLst>
                <a:gd name="T0" fmla="*/ 15642060 w 1136"/>
                <a:gd name="T1" fmla="*/ 5102294 h 491"/>
                <a:gd name="T2" fmla="*/ 15442507 w 1136"/>
                <a:gd name="T3" fmla="*/ 4270120 h 491"/>
                <a:gd name="T4" fmla="*/ 15069848 w 1136"/>
                <a:gd name="T5" fmla="*/ 3479787 h 491"/>
                <a:gd name="T6" fmla="*/ 14519275 w 1136"/>
                <a:gd name="T7" fmla="*/ 2717349 h 491"/>
                <a:gd name="T8" fmla="*/ 13853297 w 1136"/>
                <a:gd name="T9" fmla="*/ 2024646 h 491"/>
                <a:gd name="T10" fmla="*/ 13033448 w 1136"/>
                <a:gd name="T11" fmla="*/ 1434221 h 491"/>
                <a:gd name="T12" fmla="*/ 12105407 w 1136"/>
                <a:gd name="T13" fmla="*/ 911207 h 491"/>
                <a:gd name="T14" fmla="*/ 11098026 w 1136"/>
                <a:gd name="T15" fmla="*/ 516041 h 491"/>
                <a:gd name="T16" fmla="*/ 10006496 w 1136"/>
                <a:gd name="T17" fmla="*/ 218504 h 491"/>
                <a:gd name="T18" fmla="*/ 8871688 w 1136"/>
                <a:gd name="T19" fmla="*/ 44166 h 491"/>
                <a:gd name="T20" fmla="*/ 7729668 w 1136"/>
                <a:gd name="T21" fmla="*/ 0 h 491"/>
                <a:gd name="T22" fmla="*/ 6556394 w 1136"/>
                <a:gd name="T23" fmla="*/ 65086 h 491"/>
                <a:gd name="T24" fmla="*/ 5445630 w 1136"/>
                <a:gd name="T25" fmla="*/ 281265 h 491"/>
                <a:gd name="T26" fmla="*/ 4363716 w 1136"/>
                <a:gd name="T27" fmla="*/ 595074 h 491"/>
                <a:gd name="T28" fmla="*/ 3353931 w 1136"/>
                <a:gd name="T29" fmla="*/ 1029757 h 491"/>
                <a:gd name="T30" fmla="*/ 2471571 w 1136"/>
                <a:gd name="T31" fmla="*/ 1569042 h 491"/>
                <a:gd name="T32" fmla="*/ 1690189 w 1136"/>
                <a:gd name="T33" fmla="*/ 2182712 h 491"/>
                <a:gd name="T34" fmla="*/ 1038637 w 1136"/>
                <a:gd name="T35" fmla="*/ 2884714 h 491"/>
                <a:gd name="T36" fmla="*/ 536148 w 1136"/>
                <a:gd name="T37" fmla="*/ 3640178 h 491"/>
                <a:gd name="T38" fmla="*/ 197149 w 1136"/>
                <a:gd name="T39" fmla="*/ 4458405 h 491"/>
                <a:gd name="T40" fmla="*/ 28851 w 1136"/>
                <a:gd name="T41" fmla="*/ 5302202 h 491"/>
                <a:gd name="T42" fmla="*/ 7854689 w 1136"/>
                <a:gd name="T43" fmla="*/ 5722937 h 491"/>
                <a:gd name="T44" fmla="*/ 8999113 w 1136"/>
                <a:gd name="T45" fmla="*/ 5448646 h 491"/>
                <a:gd name="T46" fmla="*/ 9376580 w 1136"/>
                <a:gd name="T47" fmla="*/ 4958175 h 491"/>
                <a:gd name="T48" fmla="*/ 9898305 w 1136"/>
                <a:gd name="T49" fmla="*/ 4537438 h 491"/>
                <a:gd name="T50" fmla="*/ 10513793 w 1136"/>
                <a:gd name="T51" fmla="*/ 4209682 h 491"/>
                <a:gd name="T52" fmla="*/ 11213430 w 1136"/>
                <a:gd name="T53" fmla="*/ 3970258 h 491"/>
                <a:gd name="T54" fmla="*/ 11941918 w 1136"/>
                <a:gd name="T55" fmla="*/ 3849384 h 491"/>
                <a:gd name="T56" fmla="*/ 12699257 w 1136"/>
                <a:gd name="T57" fmla="*/ 3849384 h 491"/>
                <a:gd name="T58" fmla="*/ 13461405 w 1136"/>
                <a:gd name="T59" fmla="*/ 3974907 h 491"/>
                <a:gd name="T60" fmla="*/ 14161041 w 1136"/>
                <a:gd name="T61" fmla="*/ 4223630 h 491"/>
                <a:gd name="T62" fmla="*/ 14790955 w 1136"/>
                <a:gd name="T63" fmla="*/ 4579279 h 491"/>
                <a:gd name="T64" fmla="*/ 15295848 w 1136"/>
                <a:gd name="T65" fmla="*/ 5006989 h 491"/>
                <a:gd name="T66" fmla="*/ 15682932 w 1136"/>
                <a:gd name="T67" fmla="*/ 5523030 h 49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136"/>
                <a:gd name="T103" fmla="*/ 0 h 491"/>
                <a:gd name="T104" fmla="*/ 1136 w 1136"/>
                <a:gd name="T105" fmla="*/ 491 h 49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136" h="491">
                  <a:moveTo>
                    <a:pt x="1135" y="473"/>
                  </a:moveTo>
                  <a:lnTo>
                    <a:pt x="1132" y="437"/>
                  </a:lnTo>
                  <a:lnTo>
                    <a:pt x="1126" y="401"/>
                  </a:lnTo>
                  <a:lnTo>
                    <a:pt x="1117" y="366"/>
                  </a:lnTo>
                  <a:lnTo>
                    <a:pt x="1104" y="331"/>
                  </a:lnTo>
                  <a:lnTo>
                    <a:pt x="1090" y="298"/>
                  </a:lnTo>
                  <a:lnTo>
                    <a:pt x="1072" y="264"/>
                  </a:lnTo>
                  <a:lnTo>
                    <a:pt x="1051" y="233"/>
                  </a:lnTo>
                  <a:lnTo>
                    <a:pt x="1027" y="203"/>
                  </a:lnTo>
                  <a:lnTo>
                    <a:pt x="1002" y="174"/>
                  </a:lnTo>
                  <a:lnTo>
                    <a:pt x="974" y="148"/>
                  </a:lnTo>
                  <a:lnTo>
                    <a:pt x="943" y="123"/>
                  </a:lnTo>
                  <a:lnTo>
                    <a:pt x="911" y="99"/>
                  </a:lnTo>
                  <a:lnTo>
                    <a:pt x="876" y="78"/>
                  </a:lnTo>
                  <a:lnTo>
                    <a:pt x="840" y="60"/>
                  </a:lnTo>
                  <a:lnTo>
                    <a:pt x="803" y="44"/>
                  </a:lnTo>
                  <a:lnTo>
                    <a:pt x="764" y="30"/>
                  </a:lnTo>
                  <a:lnTo>
                    <a:pt x="724" y="19"/>
                  </a:lnTo>
                  <a:lnTo>
                    <a:pt x="683" y="10"/>
                  </a:lnTo>
                  <a:lnTo>
                    <a:pt x="642" y="4"/>
                  </a:lnTo>
                  <a:lnTo>
                    <a:pt x="600" y="1"/>
                  </a:lnTo>
                  <a:lnTo>
                    <a:pt x="559" y="0"/>
                  </a:lnTo>
                  <a:lnTo>
                    <a:pt x="517" y="2"/>
                  </a:lnTo>
                  <a:lnTo>
                    <a:pt x="474" y="6"/>
                  </a:lnTo>
                  <a:lnTo>
                    <a:pt x="433" y="14"/>
                  </a:lnTo>
                  <a:lnTo>
                    <a:pt x="394" y="24"/>
                  </a:lnTo>
                  <a:lnTo>
                    <a:pt x="354" y="37"/>
                  </a:lnTo>
                  <a:lnTo>
                    <a:pt x="316" y="51"/>
                  </a:lnTo>
                  <a:lnTo>
                    <a:pt x="279" y="68"/>
                  </a:lnTo>
                  <a:lnTo>
                    <a:pt x="243" y="88"/>
                  </a:lnTo>
                  <a:lnTo>
                    <a:pt x="210" y="110"/>
                  </a:lnTo>
                  <a:lnTo>
                    <a:pt x="179" y="134"/>
                  </a:lnTo>
                  <a:lnTo>
                    <a:pt x="149" y="159"/>
                  </a:lnTo>
                  <a:lnTo>
                    <a:pt x="122" y="187"/>
                  </a:lnTo>
                  <a:lnTo>
                    <a:pt x="97" y="217"/>
                  </a:lnTo>
                  <a:lnTo>
                    <a:pt x="75" y="247"/>
                  </a:lnTo>
                  <a:lnTo>
                    <a:pt x="56" y="280"/>
                  </a:lnTo>
                  <a:lnTo>
                    <a:pt x="39" y="312"/>
                  </a:lnTo>
                  <a:lnTo>
                    <a:pt x="25" y="347"/>
                  </a:lnTo>
                  <a:lnTo>
                    <a:pt x="14" y="382"/>
                  </a:lnTo>
                  <a:lnTo>
                    <a:pt x="7" y="417"/>
                  </a:lnTo>
                  <a:lnTo>
                    <a:pt x="2" y="454"/>
                  </a:lnTo>
                  <a:lnTo>
                    <a:pt x="0" y="490"/>
                  </a:lnTo>
                  <a:lnTo>
                    <a:pt x="568" y="490"/>
                  </a:lnTo>
                  <a:lnTo>
                    <a:pt x="640" y="490"/>
                  </a:lnTo>
                  <a:lnTo>
                    <a:pt x="651" y="467"/>
                  </a:lnTo>
                  <a:lnTo>
                    <a:pt x="664" y="445"/>
                  </a:lnTo>
                  <a:lnTo>
                    <a:pt x="679" y="425"/>
                  </a:lnTo>
                  <a:lnTo>
                    <a:pt x="696" y="406"/>
                  </a:lnTo>
                  <a:lnTo>
                    <a:pt x="716" y="389"/>
                  </a:lnTo>
                  <a:lnTo>
                    <a:pt x="738" y="374"/>
                  </a:lnTo>
                  <a:lnTo>
                    <a:pt x="761" y="361"/>
                  </a:lnTo>
                  <a:lnTo>
                    <a:pt x="785" y="350"/>
                  </a:lnTo>
                  <a:lnTo>
                    <a:pt x="811" y="340"/>
                  </a:lnTo>
                  <a:lnTo>
                    <a:pt x="837" y="334"/>
                  </a:lnTo>
                  <a:lnTo>
                    <a:pt x="864" y="330"/>
                  </a:lnTo>
                  <a:lnTo>
                    <a:pt x="891" y="330"/>
                  </a:lnTo>
                  <a:lnTo>
                    <a:pt x="919" y="330"/>
                  </a:lnTo>
                  <a:lnTo>
                    <a:pt x="947" y="335"/>
                  </a:lnTo>
                  <a:lnTo>
                    <a:pt x="974" y="341"/>
                  </a:lnTo>
                  <a:lnTo>
                    <a:pt x="1000" y="351"/>
                  </a:lnTo>
                  <a:lnTo>
                    <a:pt x="1025" y="362"/>
                  </a:lnTo>
                  <a:lnTo>
                    <a:pt x="1048" y="375"/>
                  </a:lnTo>
                  <a:lnTo>
                    <a:pt x="1070" y="392"/>
                  </a:lnTo>
                  <a:lnTo>
                    <a:pt x="1090" y="410"/>
                  </a:lnTo>
                  <a:lnTo>
                    <a:pt x="1107" y="429"/>
                  </a:lnTo>
                  <a:lnTo>
                    <a:pt x="1122" y="451"/>
                  </a:lnTo>
                  <a:lnTo>
                    <a:pt x="1135" y="473"/>
                  </a:lnTo>
                </a:path>
              </a:pathLst>
            </a:custGeom>
            <a:solidFill>
              <a:srgbClr val="046A38"/>
            </a:solidFill>
            <a:ln w="19050" cap="rnd">
              <a:solidFill>
                <a:sysClr val="windowText" lastClr="0000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AF6FCD26-78E9-4CF3-AF81-E68B91AB7A0C}"/>
                </a:ext>
              </a:extLst>
            </p:cNvPr>
            <p:cNvSpPr>
              <a:spLocks/>
            </p:cNvSpPr>
            <p:nvPr/>
          </p:nvSpPr>
          <p:spPr bwMode="gray">
            <a:xfrm>
              <a:off x="3540734" y="3425990"/>
              <a:ext cx="1094928" cy="2638264"/>
            </a:xfrm>
            <a:custGeom>
              <a:avLst/>
              <a:gdLst>
                <a:gd name="T0" fmla="*/ 6090193 w 493"/>
                <a:gd name="T1" fmla="*/ 30245 h 1134"/>
                <a:gd name="T2" fmla="*/ 5096416 w 493"/>
                <a:gd name="T3" fmla="*/ 209386 h 1134"/>
                <a:gd name="T4" fmla="*/ 4150763 w 493"/>
                <a:gd name="T5" fmla="*/ 523465 h 1134"/>
                <a:gd name="T6" fmla="*/ 3250830 w 493"/>
                <a:gd name="T7" fmla="*/ 986441 h 1134"/>
                <a:gd name="T8" fmla="*/ 2447145 w 493"/>
                <a:gd name="T9" fmla="*/ 1554110 h 1134"/>
                <a:gd name="T10" fmla="*/ 1710836 w 493"/>
                <a:gd name="T11" fmla="*/ 2233451 h 1134"/>
                <a:gd name="T12" fmla="*/ 1111683 w 493"/>
                <a:gd name="T13" fmla="*/ 3029118 h 1134"/>
                <a:gd name="T14" fmla="*/ 623216 w 493"/>
                <a:gd name="T15" fmla="*/ 3889927 h 1134"/>
                <a:gd name="T16" fmla="*/ 276718 w 493"/>
                <a:gd name="T17" fmla="*/ 4820532 h 1134"/>
                <a:gd name="T18" fmla="*/ 69781 w 493"/>
                <a:gd name="T19" fmla="*/ 5765095 h 1134"/>
                <a:gd name="T20" fmla="*/ 0 w 493"/>
                <a:gd name="T21" fmla="*/ 6751536 h 1134"/>
                <a:gd name="T22" fmla="*/ 96250 w 493"/>
                <a:gd name="T23" fmla="*/ 7724017 h 1134"/>
                <a:gd name="T24" fmla="*/ 346499 w 493"/>
                <a:gd name="T25" fmla="*/ 8687192 h 1134"/>
                <a:gd name="T26" fmla="*/ 726684 w 493"/>
                <a:gd name="T27" fmla="*/ 9592207 h 1134"/>
                <a:gd name="T28" fmla="*/ 1236807 w 493"/>
                <a:gd name="T29" fmla="*/ 10429751 h 1134"/>
                <a:gd name="T30" fmla="*/ 1872054 w 493"/>
                <a:gd name="T31" fmla="*/ 11195173 h 1134"/>
                <a:gd name="T32" fmla="*/ 2605958 w 493"/>
                <a:gd name="T33" fmla="*/ 11855902 h 1134"/>
                <a:gd name="T34" fmla="*/ 3457766 w 493"/>
                <a:gd name="T35" fmla="*/ 12402632 h 1134"/>
                <a:gd name="T36" fmla="*/ 4362512 w 493"/>
                <a:gd name="T37" fmla="*/ 12842342 h 1134"/>
                <a:gd name="T38" fmla="*/ 5329821 w 493"/>
                <a:gd name="T39" fmla="*/ 13123850 h 1134"/>
                <a:gd name="T40" fmla="*/ 6316379 w 493"/>
                <a:gd name="T41" fmla="*/ 13265767 h 1134"/>
                <a:gd name="T42" fmla="*/ 6824095 w 493"/>
                <a:gd name="T43" fmla="*/ 6637537 h 1134"/>
                <a:gd name="T44" fmla="*/ 6496847 w 493"/>
                <a:gd name="T45" fmla="*/ 5672035 h 1134"/>
                <a:gd name="T46" fmla="*/ 5909725 w 493"/>
                <a:gd name="T47" fmla="*/ 5343997 h 1134"/>
                <a:gd name="T48" fmla="*/ 5426071 w 493"/>
                <a:gd name="T49" fmla="*/ 4897307 h 1134"/>
                <a:gd name="T50" fmla="*/ 5021823 w 493"/>
                <a:gd name="T51" fmla="*/ 4380820 h 1134"/>
                <a:gd name="T52" fmla="*/ 4742698 w 493"/>
                <a:gd name="T53" fmla="*/ 3796866 h 1134"/>
                <a:gd name="T54" fmla="*/ 4605542 w 493"/>
                <a:gd name="T55" fmla="*/ 3175688 h 1134"/>
                <a:gd name="T56" fmla="*/ 4605542 w 493"/>
                <a:gd name="T57" fmla="*/ 2517285 h 1134"/>
                <a:gd name="T58" fmla="*/ 4761948 w 493"/>
                <a:gd name="T59" fmla="*/ 1886801 h 1134"/>
                <a:gd name="T60" fmla="*/ 5038666 w 493"/>
                <a:gd name="T61" fmla="*/ 1288887 h 1134"/>
                <a:gd name="T62" fmla="*/ 5454946 w 493"/>
                <a:gd name="T63" fmla="*/ 756116 h 1134"/>
                <a:gd name="T64" fmla="*/ 5981912 w 493"/>
                <a:gd name="T65" fmla="*/ 328038 h 1134"/>
                <a:gd name="T66" fmla="*/ 6593097 w 493"/>
                <a:gd name="T67" fmla="*/ 0 h 113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493"/>
                <a:gd name="T103" fmla="*/ 0 h 1134"/>
                <a:gd name="T104" fmla="*/ 493 w 493"/>
                <a:gd name="T105" fmla="*/ 1134 h 113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493" h="1134">
                  <a:moveTo>
                    <a:pt x="475" y="0"/>
                  </a:moveTo>
                  <a:lnTo>
                    <a:pt x="439" y="3"/>
                  </a:lnTo>
                  <a:lnTo>
                    <a:pt x="403" y="9"/>
                  </a:lnTo>
                  <a:lnTo>
                    <a:pt x="367" y="18"/>
                  </a:lnTo>
                  <a:lnTo>
                    <a:pt x="333" y="30"/>
                  </a:lnTo>
                  <a:lnTo>
                    <a:pt x="299" y="45"/>
                  </a:lnTo>
                  <a:lnTo>
                    <a:pt x="266" y="63"/>
                  </a:lnTo>
                  <a:lnTo>
                    <a:pt x="234" y="84"/>
                  </a:lnTo>
                  <a:lnTo>
                    <a:pt x="204" y="107"/>
                  </a:lnTo>
                  <a:lnTo>
                    <a:pt x="176" y="133"/>
                  </a:lnTo>
                  <a:lnTo>
                    <a:pt x="148" y="161"/>
                  </a:lnTo>
                  <a:lnTo>
                    <a:pt x="123" y="191"/>
                  </a:lnTo>
                  <a:lnTo>
                    <a:pt x="101" y="224"/>
                  </a:lnTo>
                  <a:lnTo>
                    <a:pt x="80" y="258"/>
                  </a:lnTo>
                  <a:lnTo>
                    <a:pt x="61" y="294"/>
                  </a:lnTo>
                  <a:lnTo>
                    <a:pt x="45" y="332"/>
                  </a:lnTo>
                  <a:lnTo>
                    <a:pt x="31" y="370"/>
                  </a:lnTo>
                  <a:lnTo>
                    <a:pt x="20" y="411"/>
                  </a:lnTo>
                  <a:lnTo>
                    <a:pt x="11" y="451"/>
                  </a:lnTo>
                  <a:lnTo>
                    <a:pt x="5" y="492"/>
                  </a:lnTo>
                  <a:lnTo>
                    <a:pt x="1" y="534"/>
                  </a:lnTo>
                  <a:lnTo>
                    <a:pt x="0" y="576"/>
                  </a:lnTo>
                  <a:lnTo>
                    <a:pt x="3" y="617"/>
                  </a:lnTo>
                  <a:lnTo>
                    <a:pt x="7" y="659"/>
                  </a:lnTo>
                  <a:lnTo>
                    <a:pt x="14" y="701"/>
                  </a:lnTo>
                  <a:lnTo>
                    <a:pt x="25" y="741"/>
                  </a:lnTo>
                  <a:lnTo>
                    <a:pt x="37" y="780"/>
                  </a:lnTo>
                  <a:lnTo>
                    <a:pt x="52" y="818"/>
                  </a:lnTo>
                  <a:lnTo>
                    <a:pt x="69" y="855"/>
                  </a:lnTo>
                  <a:lnTo>
                    <a:pt x="89" y="890"/>
                  </a:lnTo>
                  <a:lnTo>
                    <a:pt x="111" y="924"/>
                  </a:lnTo>
                  <a:lnTo>
                    <a:pt x="135" y="955"/>
                  </a:lnTo>
                  <a:lnTo>
                    <a:pt x="161" y="984"/>
                  </a:lnTo>
                  <a:lnTo>
                    <a:pt x="188" y="1011"/>
                  </a:lnTo>
                  <a:lnTo>
                    <a:pt x="218" y="1036"/>
                  </a:lnTo>
                  <a:lnTo>
                    <a:pt x="249" y="1058"/>
                  </a:lnTo>
                  <a:lnTo>
                    <a:pt x="281" y="1078"/>
                  </a:lnTo>
                  <a:lnTo>
                    <a:pt x="314" y="1095"/>
                  </a:lnTo>
                  <a:lnTo>
                    <a:pt x="349" y="1108"/>
                  </a:lnTo>
                  <a:lnTo>
                    <a:pt x="384" y="1119"/>
                  </a:lnTo>
                  <a:lnTo>
                    <a:pt x="419" y="1126"/>
                  </a:lnTo>
                  <a:lnTo>
                    <a:pt x="455" y="1131"/>
                  </a:lnTo>
                  <a:lnTo>
                    <a:pt x="492" y="1133"/>
                  </a:lnTo>
                  <a:lnTo>
                    <a:pt x="492" y="566"/>
                  </a:lnTo>
                  <a:lnTo>
                    <a:pt x="492" y="494"/>
                  </a:lnTo>
                  <a:lnTo>
                    <a:pt x="468" y="484"/>
                  </a:lnTo>
                  <a:lnTo>
                    <a:pt x="447" y="470"/>
                  </a:lnTo>
                  <a:lnTo>
                    <a:pt x="426" y="456"/>
                  </a:lnTo>
                  <a:lnTo>
                    <a:pt x="408" y="438"/>
                  </a:lnTo>
                  <a:lnTo>
                    <a:pt x="391" y="418"/>
                  </a:lnTo>
                  <a:lnTo>
                    <a:pt x="375" y="397"/>
                  </a:lnTo>
                  <a:lnTo>
                    <a:pt x="362" y="374"/>
                  </a:lnTo>
                  <a:lnTo>
                    <a:pt x="351" y="349"/>
                  </a:lnTo>
                  <a:lnTo>
                    <a:pt x="342" y="324"/>
                  </a:lnTo>
                  <a:lnTo>
                    <a:pt x="336" y="298"/>
                  </a:lnTo>
                  <a:lnTo>
                    <a:pt x="332" y="271"/>
                  </a:lnTo>
                  <a:lnTo>
                    <a:pt x="331" y="243"/>
                  </a:lnTo>
                  <a:lnTo>
                    <a:pt x="332" y="215"/>
                  </a:lnTo>
                  <a:lnTo>
                    <a:pt x="336" y="188"/>
                  </a:lnTo>
                  <a:lnTo>
                    <a:pt x="343" y="161"/>
                  </a:lnTo>
                  <a:lnTo>
                    <a:pt x="352" y="135"/>
                  </a:lnTo>
                  <a:lnTo>
                    <a:pt x="363" y="110"/>
                  </a:lnTo>
                  <a:lnTo>
                    <a:pt x="377" y="86"/>
                  </a:lnTo>
                  <a:lnTo>
                    <a:pt x="393" y="65"/>
                  </a:lnTo>
                  <a:lnTo>
                    <a:pt x="412" y="45"/>
                  </a:lnTo>
                  <a:lnTo>
                    <a:pt x="431" y="28"/>
                  </a:lnTo>
                  <a:lnTo>
                    <a:pt x="452" y="12"/>
                  </a:lnTo>
                  <a:lnTo>
                    <a:pt x="475" y="0"/>
                  </a:lnTo>
                </a:path>
              </a:pathLst>
            </a:custGeom>
            <a:solidFill>
              <a:srgbClr val="0097A9"/>
            </a:solidFill>
            <a:ln w="19050" cap="rnd">
              <a:solidFill>
                <a:sysClr val="windowText" lastClr="0000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1C42704A-6E03-4BC0-BB03-A6F15F31721B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8359" y="3811092"/>
              <a:ext cx="2520915" cy="1142886"/>
            </a:xfrm>
            <a:custGeom>
              <a:avLst/>
              <a:gdLst>
                <a:gd name="T0" fmla="*/ 45681 w 1136"/>
                <a:gd name="T1" fmla="*/ 616833 h 491"/>
                <a:gd name="T2" fmla="*/ 250042 w 1136"/>
                <a:gd name="T3" fmla="*/ 1466432 h 491"/>
                <a:gd name="T4" fmla="*/ 622701 w 1136"/>
                <a:gd name="T5" fmla="*/ 2264823 h 491"/>
                <a:gd name="T6" fmla="*/ 1158849 w 1136"/>
                <a:gd name="T7" fmla="*/ 3018988 h 491"/>
                <a:gd name="T8" fmla="*/ 1839252 w 1136"/>
                <a:gd name="T9" fmla="*/ 3719617 h 491"/>
                <a:gd name="T10" fmla="*/ 2649485 w 1136"/>
                <a:gd name="T11" fmla="*/ 4327139 h 491"/>
                <a:gd name="T12" fmla="*/ 3582335 w 1136"/>
                <a:gd name="T13" fmla="*/ 4843882 h 491"/>
                <a:gd name="T14" fmla="*/ 4589716 w 1136"/>
                <a:gd name="T15" fmla="*/ 5251225 h 491"/>
                <a:gd name="T16" fmla="*/ 5676438 w 1136"/>
                <a:gd name="T17" fmla="*/ 5546839 h 491"/>
                <a:gd name="T18" fmla="*/ 6808840 w 1136"/>
                <a:gd name="T19" fmla="*/ 5714431 h 491"/>
                <a:gd name="T20" fmla="*/ 7960477 w 1136"/>
                <a:gd name="T21" fmla="*/ 5763312 h 491"/>
                <a:gd name="T22" fmla="*/ 9121730 w 1136"/>
                <a:gd name="T23" fmla="*/ 5691154 h 491"/>
                <a:gd name="T24" fmla="*/ 10237304 w 1136"/>
                <a:gd name="T25" fmla="*/ 5483992 h 491"/>
                <a:gd name="T26" fmla="*/ 11316813 w 1136"/>
                <a:gd name="T27" fmla="*/ 5169756 h 491"/>
                <a:gd name="T28" fmla="*/ 12326598 w 1136"/>
                <a:gd name="T29" fmla="*/ 4727498 h 491"/>
                <a:gd name="T30" fmla="*/ 13211362 w 1136"/>
                <a:gd name="T31" fmla="*/ 4194462 h 491"/>
                <a:gd name="T32" fmla="*/ 14002361 w 1136"/>
                <a:gd name="T33" fmla="*/ 3561335 h 491"/>
                <a:gd name="T34" fmla="*/ 14649104 w 1136"/>
                <a:gd name="T35" fmla="*/ 2853724 h 491"/>
                <a:gd name="T36" fmla="*/ 15149189 w 1136"/>
                <a:gd name="T37" fmla="*/ 2092575 h 491"/>
                <a:gd name="T38" fmla="*/ 15495401 w 1136"/>
                <a:gd name="T39" fmla="*/ 1270908 h 491"/>
                <a:gd name="T40" fmla="*/ 15654081 w 1136"/>
                <a:gd name="T41" fmla="*/ 428291 h 491"/>
                <a:gd name="T42" fmla="*/ 7840264 w 1136"/>
                <a:gd name="T43" fmla="*/ 0 h 491"/>
                <a:gd name="T44" fmla="*/ 6686224 w 1136"/>
                <a:gd name="T45" fmla="*/ 253716 h 491"/>
                <a:gd name="T46" fmla="*/ 6294331 w 1136"/>
                <a:gd name="T47" fmla="*/ 726233 h 491"/>
                <a:gd name="T48" fmla="*/ 5748566 w 1136"/>
                <a:gd name="T49" fmla="*/ 1112626 h 491"/>
                <a:gd name="T50" fmla="*/ 5125865 w 1136"/>
                <a:gd name="T51" fmla="*/ 1396602 h 491"/>
                <a:gd name="T52" fmla="*/ 4414206 w 1136"/>
                <a:gd name="T53" fmla="*/ 1573505 h 491"/>
                <a:gd name="T54" fmla="*/ 3707356 w 1136"/>
                <a:gd name="T55" fmla="*/ 1622386 h 491"/>
                <a:gd name="T56" fmla="*/ 2899528 w 1136"/>
                <a:gd name="T57" fmla="*/ 1634025 h 491"/>
                <a:gd name="T58" fmla="*/ 2125358 w 1136"/>
                <a:gd name="T59" fmla="*/ 1510658 h 491"/>
                <a:gd name="T60" fmla="*/ 1396870 w 1136"/>
                <a:gd name="T61" fmla="*/ 1270908 h 491"/>
                <a:gd name="T62" fmla="*/ 747722 w 1136"/>
                <a:gd name="T63" fmla="*/ 900808 h 491"/>
                <a:gd name="T64" fmla="*/ 223595 w 1136"/>
                <a:gd name="T65" fmla="*/ 453896 h 49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136"/>
                <a:gd name="T100" fmla="*/ 0 h 491"/>
                <a:gd name="T101" fmla="*/ 1136 w 1136"/>
                <a:gd name="T102" fmla="*/ 491 h 49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136" h="491">
                  <a:moveTo>
                    <a:pt x="0" y="17"/>
                  </a:moveTo>
                  <a:lnTo>
                    <a:pt x="3" y="53"/>
                  </a:lnTo>
                  <a:lnTo>
                    <a:pt x="9" y="89"/>
                  </a:lnTo>
                  <a:lnTo>
                    <a:pt x="18" y="125"/>
                  </a:lnTo>
                  <a:lnTo>
                    <a:pt x="31" y="159"/>
                  </a:lnTo>
                  <a:lnTo>
                    <a:pt x="45" y="193"/>
                  </a:lnTo>
                  <a:lnTo>
                    <a:pt x="63" y="226"/>
                  </a:lnTo>
                  <a:lnTo>
                    <a:pt x="84" y="257"/>
                  </a:lnTo>
                  <a:lnTo>
                    <a:pt x="108" y="287"/>
                  </a:lnTo>
                  <a:lnTo>
                    <a:pt x="133" y="316"/>
                  </a:lnTo>
                  <a:lnTo>
                    <a:pt x="161" y="343"/>
                  </a:lnTo>
                  <a:lnTo>
                    <a:pt x="192" y="368"/>
                  </a:lnTo>
                  <a:lnTo>
                    <a:pt x="224" y="391"/>
                  </a:lnTo>
                  <a:lnTo>
                    <a:pt x="259" y="412"/>
                  </a:lnTo>
                  <a:lnTo>
                    <a:pt x="295" y="430"/>
                  </a:lnTo>
                  <a:lnTo>
                    <a:pt x="332" y="447"/>
                  </a:lnTo>
                  <a:lnTo>
                    <a:pt x="371" y="460"/>
                  </a:lnTo>
                  <a:lnTo>
                    <a:pt x="411" y="472"/>
                  </a:lnTo>
                  <a:lnTo>
                    <a:pt x="452" y="480"/>
                  </a:lnTo>
                  <a:lnTo>
                    <a:pt x="493" y="486"/>
                  </a:lnTo>
                  <a:lnTo>
                    <a:pt x="534" y="489"/>
                  </a:lnTo>
                  <a:lnTo>
                    <a:pt x="576" y="490"/>
                  </a:lnTo>
                  <a:lnTo>
                    <a:pt x="618" y="489"/>
                  </a:lnTo>
                  <a:lnTo>
                    <a:pt x="660" y="484"/>
                  </a:lnTo>
                  <a:lnTo>
                    <a:pt x="701" y="476"/>
                  </a:lnTo>
                  <a:lnTo>
                    <a:pt x="741" y="467"/>
                  </a:lnTo>
                  <a:lnTo>
                    <a:pt x="781" y="454"/>
                  </a:lnTo>
                  <a:lnTo>
                    <a:pt x="819" y="440"/>
                  </a:lnTo>
                  <a:lnTo>
                    <a:pt x="856" y="422"/>
                  </a:lnTo>
                  <a:lnTo>
                    <a:pt x="892" y="402"/>
                  </a:lnTo>
                  <a:lnTo>
                    <a:pt x="925" y="381"/>
                  </a:lnTo>
                  <a:lnTo>
                    <a:pt x="956" y="357"/>
                  </a:lnTo>
                  <a:lnTo>
                    <a:pt x="986" y="331"/>
                  </a:lnTo>
                  <a:lnTo>
                    <a:pt x="1013" y="303"/>
                  </a:lnTo>
                  <a:lnTo>
                    <a:pt x="1038" y="274"/>
                  </a:lnTo>
                  <a:lnTo>
                    <a:pt x="1060" y="243"/>
                  </a:lnTo>
                  <a:lnTo>
                    <a:pt x="1079" y="211"/>
                  </a:lnTo>
                  <a:lnTo>
                    <a:pt x="1096" y="178"/>
                  </a:lnTo>
                  <a:lnTo>
                    <a:pt x="1110" y="143"/>
                  </a:lnTo>
                  <a:lnTo>
                    <a:pt x="1121" y="108"/>
                  </a:lnTo>
                  <a:lnTo>
                    <a:pt x="1128" y="73"/>
                  </a:lnTo>
                  <a:lnTo>
                    <a:pt x="1133" y="37"/>
                  </a:lnTo>
                  <a:lnTo>
                    <a:pt x="1135" y="0"/>
                  </a:lnTo>
                  <a:lnTo>
                    <a:pt x="567" y="0"/>
                  </a:lnTo>
                  <a:lnTo>
                    <a:pt x="495" y="0"/>
                  </a:lnTo>
                  <a:lnTo>
                    <a:pt x="484" y="22"/>
                  </a:lnTo>
                  <a:lnTo>
                    <a:pt x="470" y="43"/>
                  </a:lnTo>
                  <a:lnTo>
                    <a:pt x="455" y="62"/>
                  </a:lnTo>
                  <a:lnTo>
                    <a:pt x="436" y="80"/>
                  </a:lnTo>
                  <a:lnTo>
                    <a:pt x="416" y="95"/>
                  </a:lnTo>
                  <a:lnTo>
                    <a:pt x="394" y="108"/>
                  </a:lnTo>
                  <a:lnTo>
                    <a:pt x="371" y="119"/>
                  </a:lnTo>
                  <a:lnTo>
                    <a:pt x="346" y="128"/>
                  </a:lnTo>
                  <a:lnTo>
                    <a:pt x="320" y="134"/>
                  </a:lnTo>
                  <a:lnTo>
                    <a:pt x="295" y="137"/>
                  </a:lnTo>
                  <a:lnTo>
                    <a:pt x="268" y="138"/>
                  </a:lnTo>
                  <a:lnTo>
                    <a:pt x="238" y="140"/>
                  </a:lnTo>
                  <a:lnTo>
                    <a:pt x="210" y="139"/>
                  </a:lnTo>
                  <a:lnTo>
                    <a:pt x="181" y="136"/>
                  </a:lnTo>
                  <a:lnTo>
                    <a:pt x="154" y="129"/>
                  </a:lnTo>
                  <a:lnTo>
                    <a:pt x="126" y="119"/>
                  </a:lnTo>
                  <a:lnTo>
                    <a:pt x="101" y="108"/>
                  </a:lnTo>
                  <a:lnTo>
                    <a:pt x="76" y="94"/>
                  </a:lnTo>
                  <a:lnTo>
                    <a:pt x="54" y="77"/>
                  </a:lnTo>
                  <a:lnTo>
                    <a:pt x="34" y="60"/>
                  </a:lnTo>
                  <a:lnTo>
                    <a:pt x="16" y="39"/>
                  </a:lnTo>
                  <a:lnTo>
                    <a:pt x="0" y="17"/>
                  </a:lnTo>
                </a:path>
              </a:pathLst>
            </a:custGeom>
            <a:solidFill>
              <a:srgbClr val="012169"/>
            </a:solidFill>
            <a:ln w="19050" cap="rnd">
              <a:solidFill>
                <a:sysClr val="windowText" lastClr="0000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22B9E4E6-EE80-4188-A2D4-F73814812967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3813" y="1584329"/>
              <a:ext cx="1100661" cy="2646028"/>
            </a:xfrm>
            <a:custGeom>
              <a:avLst/>
              <a:gdLst>
                <a:gd name="T0" fmla="*/ 778963 w 496"/>
                <a:gd name="T1" fmla="*/ 13318572 h 1137"/>
                <a:gd name="T2" fmla="*/ 1743051 w 496"/>
                <a:gd name="T3" fmla="*/ 13134724 h 1137"/>
                <a:gd name="T4" fmla="*/ 2668671 w 496"/>
                <a:gd name="T5" fmla="*/ 12832188 h 1137"/>
                <a:gd name="T6" fmla="*/ 3531781 w 496"/>
                <a:gd name="T7" fmla="*/ 12380711 h 1137"/>
                <a:gd name="T8" fmla="*/ 4358829 w 496"/>
                <a:gd name="T9" fmla="*/ 11840800 h 1137"/>
                <a:gd name="T10" fmla="*/ 5058454 w 496"/>
                <a:gd name="T11" fmla="*/ 11163585 h 1137"/>
                <a:gd name="T12" fmla="*/ 5676335 w 496"/>
                <a:gd name="T13" fmla="*/ 10411899 h 1137"/>
                <a:gd name="T14" fmla="*/ 6169198 w 496"/>
                <a:gd name="T15" fmla="*/ 9581089 h 1137"/>
                <a:gd name="T16" fmla="*/ 6525020 w 496"/>
                <a:gd name="T17" fmla="*/ 8687441 h 1137"/>
                <a:gd name="T18" fmla="*/ 6748612 w 496"/>
                <a:gd name="T19" fmla="*/ 7747252 h 1137"/>
                <a:gd name="T20" fmla="*/ 6835163 w 496"/>
                <a:gd name="T21" fmla="*/ 6783791 h 1137"/>
                <a:gd name="T22" fmla="*/ 6782270 w 496"/>
                <a:gd name="T23" fmla="*/ 5824985 h 1137"/>
                <a:gd name="T24" fmla="*/ 6577913 w 496"/>
                <a:gd name="T25" fmla="*/ 4882469 h 1137"/>
                <a:gd name="T26" fmla="*/ 6246132 w 496"/>
                <a:gd name="T27" fmla="*/ 3974859 h 1137"/>
                <a:gd name="T28" fmla="*/ 5774908 w 496"/>
                <a:gd name="T29" fmla="*/ 3125431 h 1137"/>
                <a:gd name="T30" fmla="*/ 5193090 w 496"/>
                <a:gd name="T31" fmla="*/ 2350473 h 1137"/>
                <a:gd name="T32" fmla="*/ 4512698 w 496"/>
                <a:gd name="T33" fmla="*/ 1666276 h 1137"/>
                <a:gd name="T34" fmla="*/ 3728926 w 496"/>
                <a:gd name="T35" fmla="*/ 1082148 h 1137"/>
                <a:gd name="T36" fmla="*/ 2865816 w 496"/>
                <a:gd name="T37" fmla="*/ 609727 h 1137"/>
                <a:gd name="T38" fmla="*/ 1947408 w 496"/>
                <a:gd name="T39" fmla="*/ 281591 h 1137"/>
                <a:gd name="T40" fmla="*/ 978513 w 496"/>
                <a:gd name="T41" fmla="*/ 76798 h 1137"/>
                <a:gd name="T42" fmla="*/ 0 w 496"/>
                <a:gd name="T43" fmla="*/ 0 h 1137"/>
                <a:gd name="T44" fmla="*/ 346206 w 496"/>
                <a:gd name="T45" fmla="*/ 7181743 h 1137"/>
                <a:gd name="T46" fmla="*/ 964087 w 496"/>
                <a:gd name="T47" fmla="*/ 7693727 h 1137"/>
                <a:gd name="T48" fmla="*/ 1493013 w 496"/>
                <a:gd name="T49" fmla="*/ 8289490 h 1137"/>
                <a:gd name="T50" fmla="*/ 1892112 w 496"/>
                <a:gd name="T51" fmla="*/ 8973687 h 1137"/>
                <a:gd name="T52" fmla="*/ 2163787 w 496"/>
                <a:gd name="T53" fmla="*/ 9723048 h 1137"/>
                <a:gd name="T54" fmla="*/ 2267168 w 496"/>
                <a:gd name="T55" fmla="*/ 10495678 h 1137"/>
                <a:gd name="T56" fmla="*/ 2197446 w 496"/>
                <a:gd name="T57" fmla="*/ 11140313 h 1137"/>
                <a:gd name="T58" fmla="*/ 1988280 w 496"/>
                <a:gd name="T59" fmla="*/ 11768657 h 1137"/>
                <a:gd name="T60" fmla="*/ 1642074 w 496"/>
                <a:gd name="T61" fmla="*/ 12329512 h 1137"/>
                <a:gd name="T62" fmla="*/ 1158828 w 496"/>
                <a:gd name="T63" fmla="*/ 12806588 h 1137"/>
                <a:gd name="T64" fmla="*/ 598648 w 496"/>
                <a:gd name="T65" fmla="*/ 13197558 h 113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96"/>
                <a:gd name="T100" fmla="*/ 0 h 1137"/>
                <a:gd name="T101" fmla="*/ 496 w 496"/>
                <a:gd name="T102" fmla="*/ 1137 h 113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96" h="1137">
                  <a:moveTo>
                    <a:pt x="20" y="1136"/>
                  </a:moveTo>
                  <a:lnTo>
                    <a:pt x="56" y="1134"/>
                  </a:lnTo>
                  <a:lnTo>
                    <a:pt x="91" y="1128"/>
                  </a:lnTo>
                  <a:lnTo>
                    <a:pt x="126" y="1119"/>
                  </a:lnTo>
                  <a:lnTo>
                    <a:pt x="160" y="1107"/>
                  </a:lnTo>
                  <a:lnTo>
                    <a:pt x="193" y="1093"/>
                  </a:lnTo>
                  <a:lnTo>
                    <a:pt x="225" y="1076"/>
                  </a:lnTo>
                  <a:lnTo>
                    <a:pt x="256" y="1055"/>
                  </a:lnTo>
                  <a:lnTo>
                    <a:pt x="287" y="1033"/>
                  </a:lnTo>
                  <a:lnTo>
                    <a:pt x="315" y="1008"/>
                  </a:lnTo>
                  <a:lnTo>
                    <a:pt x="341" y="981"/>
                  </a:lnTo>
                  <a:lnTo>
                    <a:pt x="366" y="951"/>
                  </a:lnTo>
                  <a:lnTo>
                    <a:pt x="390" y="920"/>
                  </a:lnTo>
                  <a:lnTo>
                    <a:pt x="411" y="887"/>
                  </a:lnTo>
                  <a:lnTo>
                    <a:pt x="429" y="852"/>
                  </a:lnTo>
                  <a:lnTo>
                    <a:pt x="446" y="816"/>
                  </a:lnTo>
                  <a:lnTo>
                    <a:pt x="460" y="779"/>
                  </a:lnTo>
                  <a:lnTo>
                    <a:pt x="472" y="740"/>
                  </a:lnTo>
                  <a:lnTo>
                    <a:pt x="481" y="700"/>
                  </a:lnTo>
                  <a:lnTo>
                    <a:pt x="488" y="660"/>
                  </a:lnTo>
                  <a:lnTo>
                    <a:pt x="492" y="619"/>
                  </a:lnTo>
                  <a:lnTo>
                    <a:pt x="495" y="578"/>
                  </a:lnTo>
                  <a:lnTo>
                    <a:pt x="494" y="537"/>
                  </a:lnTo>
                  <a:lnTo>
                    <a:pt x="491" y="496"/>
                  </a:lnTo>
                  <a:lnTo>
                    <a:pt x="485" y="456"/>
                  </a:lnTo>
                  <a:lnTo>
                    <a:pt x="476" y="416"/>
                  </a:lnTo>
                  <a:lnTo>
                    <a:pt x="465" y="377"/>
                  </a:lnTo>
                  <a:lnTo>
                    <a:pt x="452" y="339"/>
                  </a:lnTo>
                  <a:lnTo>
                    <a:pt x="436" y="302"/>
                  </a:lnTo>
                  <a:lnTo>
                    <a:pt x="418" y="266"/>
                  </a:lnTo>
                  <a:lnTo>
                    <a:pt x="399" y="232"/>
                  </a:lnTo>
                  <a:lnTo>
                    <a:pt x="376" y="200"/>
                  </a:lnTo>
                  <a:lnTo>
                    <a:pt x="352" y="170"/>
                  </a:lnTo>
                  <a:lnTo>
                    <a:pt x="327" y="142"/>
                  </a:lnTo>
                  <a:lnTo>
                    <a:pt x="299" y="115"/>
                  </a:lnTo>
                  <a:lnTo>
                    <a:pt x="270" y="92"/>
                  </a:lnTo>
                  <a:lnTo>
                    <a:pt x="239" y="71"/>
                  </a:lnTo>
                  <a:lnTo>
                    <a:pt x="207" y="52"/>
                  </a:lnTo>
                  <a:lnTo>
                    <a:pt x="175" y="37"/>
                  </a:lnTo>
                  <a:lnTo>
                    <a:pt x="141" y="24"/>
                  </a:lnTo>
                  <a:lnTo>
                    <a:pt x="106" y="14"/>
                  </a:lnTo>
                  <a:lnTo>
                    <a:pt x="71" y="7"/>
                  </a:lnTo>
                  <a:lnTo>
                    <a:pt x="36" y="2"/>
                  </a:lnTo>
                  <a:lnTo>
                    <a:pt x="0" y="0"/>
                  </a:lnTo>
                  <a:lnTo>
                    <a:pt x="0" y="594"/>
                  </a:lnTo>
                  <a:lnTo>
                    <a:pt x="25" y="612"/>
                  </a:lnTo>
                  <a:lnTo>
                    <a:pt x="49" y="632"/>
                  </a:lnTo>
                  <a:lnTo>
                    <a:pt x="70" y="655"/>
                  </a:lnTo>
                  <a:lnTo>
                    <a:pt x="91" y="680"/>
                  </a:lnTo>
                  <a:lnTo>
                    <a:pt x="108" y="706"/>
                  </a:lnTo>
                  <a:lnTo>
                    <a:pt x="124" y="735"/>
                  </a:lnTo>
                  <a:lnTo>
                    <a:pt x="137" y="765"/>
                  </a:lnTo>
                  <a:lnTo>
                    <a:pt x="148" y="796"/>
                  </a:lnTo>
                  <a:lnTo>
                    <a:pt x="156" y="828"/>
                  </a:lnTo>
                  <a:lnTo>
                    <a:pt x="161" y="860"/>
                  </a:lnTo>
                  <a:lnTo>
                    <a:pt x="164" y="894"/>
                  </a:lnTo>
                  <a:lnTo>
                    <a:pt x="164" y="921"/>
                  </a:lnTo>
                  <a:lnTo>
                    <a:pt x="159" y="949"/>
                  </a:lnTo>
                  <a:lnTo>
                    <a:pt x="153" y="976"/>
                  </a:lnTo>
                  <a:lnTo>
                    <a:pt x="144" y="1002"/>
                  </a:lnTo>
                  <a:lnTo>
                    <a:pt x="132" y="1027"/>
                  </a:lnTo>
                  <a:lnTo>
                    <a:pt x="119" y="1050"/>
                  </a:lnTo>
                  <a:lnTo>
                    <a:pt x="102" y="1072"/>
                  </a:lnTo>
                  <a:lnTo>
                    <a:pt x="84" y="1091"/>
                  </a:lnTo>
                  <a:lnTo>
                    <a:pt x="65" y="1109"/>
                  </a:lnTo>
                  <a:lnTo>
                    <a:pt x="43" y="1124"/>
                  </a:lnTo>
                  <a:lnTo>
                    <a:pt x="20" y="1136"/>
                  </a:lnTo>
                </a:path>
              </a:pathLst>
            </a:custGeom>
            <a:solidFill>
              <a:srgbClr val="86BC25"/>
            </a:solidFill>
            <a:ln w="19050" cap="rnd">
              <a:solidFill>
                <a:sysClr val="windowText" lastClr="0000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0" name="Oval 8">
              <a:extLst>
                <a:ext uri="{FF2B5EF4-FFF2-40B4-BE49-F238E27FC236}">
                  <a16:creationId xmlns:a16="http://schemas.microsoft.com/office/drawing/2014/main" id="{1BC80CB4-B363-4FB4-8F09-B8F6B8051BC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139031" y="3413129"/>
              <a:ext cx="832104" cy="828675"/>
            </a:xfrm>
            <a:prstGeom prst="ellipse">
              <a:avLst/>
            </a:prstGeom>
            <a:solidFill>
              <a:sysClr val="windowText" lastClr="000000"/>
            </a:solidFill>
            <a:ln w="9525">
              <a:solidFill>
                <a:sysClr val="windowText" lastClr="00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6C81E843-22F7-4A0F-A037-EB4EE30F90E9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5400000">
              <a:off x="4431481" y="2677231"/>
              <a:ext cx="1233487" cy="4602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0">
              <a:spAutoFit/>
            </a:bodyPr>
            <a:lstStyle/>
            <a:p>
              <a:pPr marL="0" marR="0" lvl="0" indent="0" algn="ctr" defTabSz="78740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D0D0CE"/>
                </a:buClr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Arial" pitchFamily="34" charset="0"/>
                </a:rPr>
                <a:t>Economic benefits</a:t>
              </a:r>
            </a:p>
          </p:txBody>
        </p:sp>
        <p:sp>
          <p:nvSpPr>
            <p:cNvPr id="12" name="Rectangle 10">
              <a:extLst>
                <a:ext uri="{FF2B5EF4-FFF2-40B4-BE49-F238E27FC236}">
                  <a16:creationId xmlns:a16="http://schemas.microsoft.com/office/drawing/2014/main" id="{E77CDF90-FA12-4684-BC6A-B84E5FB833C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811249" y="4030722"/>
              <a:ext cx="1175136" cy="690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0">
              <a:spAutoFit/>
            </a:bodyPr>
            <a:lstStyle/>
            <a:p>
              <a:pPr marL="0" marR="0" lvl="0" indent="0" algn="ctr" defTabSz="78740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D0D0CE"/>
                </a:buClr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Arial" pitchFamily="34" charset="0"/>
                </a:rPr>
                <a:t>ML for weather prediction</a:t>
              </a:r>
            </a:p>
          </p:txBody>
        </p:sp>
        <p:sp>
          <p:nvSpPr>
            <p:cNvPr id="13" name="Rectangle 11">
              <a:extLst>
                <a:ext uri="{FF2B5EF4-FFF2-40B4-BE49-F238E27FC236}">
                  <a16:creationId xmlns:a16="http://schemas.microsoft.com/office/drawing/2014/main" id="{CAB61870-19B4-47BE-B17F-E9D73FF39C8C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6200000" flipH="1">
              <a:off x="3471188" y="4630066"/>
              <a:ext cx="1228725" cy="230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0">
              <a:spAutoFit/>
            </a:bodyPr>
            <a:lstStyle/>
            <a:p>
              <a:pPr marL="0" marR="0" lvl="0" indent="0" algn="ctr" defTabSz="78740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D0D0CE"/>
                </a:buClr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Arial" pitchFamily="34" charset="0"/>
                </a:rPr>
                <a:t>Social Benefits</a:t>
              </a:r>
            </a:p>
          </p:txBody>
        </p:sp>
        <p:sp>
          <p:nvSpPr>
            <p:cNvPr id="14" name="Rectangle 12">
              <a:extLst>
                <a:ext uri="{FF2B5EF4-FFF2-40B4-BE49-F238E27FC236}">
                  <a16:creationId xmlns:a16="http://schemas.microsoft.com/office/drawing/2014/main" id="{295F1710-8784-4506-9681-9CAA2FB96B0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147392" y="2959159"/>
              <a:ext cx="1172205" cy="690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0">
              <a:spAutoFit/>
            </a:bodyPr>
            <a:lstStyle/>
            <a:p>
              <a:pPr marL="0" marR="0" lvl="0" indent="0" algn="ctr" defTabSz="78740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D0D0CE"/>
                </a:buClr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Arial" pitchFamily="34" charset="0"/>
                </a:rPr>
                <a:t>Accurate Weather Prediction</a:t>
              </a: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BB846E12-395F-4996-8561-AD7B1B0F27F2}"/>
              </a:ext>
            </a:extLst>
          </p:cNvPr>
          <p:cNvSpPr txBox="1"/>
          <p:nvPr/>
        </p:nvSpPr>
        <p:spPr>
          <a:xfrm>
            <a:off x="501650" y="2300140"/>
            <a:ext cx="6237890" cy="20774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s-MX" sz="2400" dirty="0" err="1">
                <a:solidFill>
                  <a:schemeClr val="bg1"/>
                </a:solidFill>
              </a:rPr>
              <a:t>Importance</a:t>
            </a:r>
            <a:r>
              <a:rPr lang="es-MX" sz="2400" dirty="0">
                <a:solidFill>
                  <a:schemeClr val="bg1"/>
                </a:solidFill>
              </a:rPr>
              <a:t> </a:t>
            </a:r>
            <a:r>
              <a:rPr lang="es-MX" sz="2400" dirty="0" err="1">
                <a:solidFill>
                  <a:schemeClr val="bg1"/>
                </a:solidFill>
              </a:rPr>
              <a:t>of</a:t>
            </a:r>
            <a:r>
              <a:rPr lang="es-MX" sz="2400" dirty="0">
                <a:solidFill>
                  <a:schemeClr val="bg1"/>
                </a:solidFill>
              </a:rPr>
              <a:t> </a:t>
            </a:r>
            <a:r>
              <a:rPr lang="es-MX" sz="2400" dirty="0" err="1">
                <a:solidFill>
                  <a:schemeClr val="bg1"/>
                </a:solidFill>
              </a:rPr>
              <a:t>Accurate</a:t>
            </a:r>
            <a:r>
              <a:rPr lang="es-MX" sz="2400" dirty="0">
                <a:solidFill>
                  <a:schemeClr val="bg1"/>
                </a:solidFill>
              </a:rPr>
              <a:t> </a:t>
            </a:r>
            <a:r>
              <a:rPr lang="es-MX" sz="2400" dirty="0" err="1">
                <a:solidFill>
                  <a:schemeClr val="bg1"/>
                </a:solidFill>
              </a:rPr>
              <a:t>Weather</a:t>
            </a:r>
            <a:r>
              <a:rPr lang="es-MX" sz="2400" dirty="0">
                <a:solidFill>
                  <a:schemeClr val="bg1"/>
                </a:solidFill>
              </a:rPr>
              <a:t> </a:t>
            </a:r>
            <a:r>
              <a:rPr lang="es-MX" sz="2400" dirty="0" err="1">
                <a:solidFill>
                  <a:schemeClr val="bg1"/>
                </a:solidFill>
              </a:rPr>
              <a:t>Prediction</a:t>
            </a:r>
            <a:endParaRPr lang="es-MX" sz="2400" dirty="0">
              <a:solidFill>
                <a:schemeClr val="bg1"/>
              </a:solidFill>
            </a:endParaRPr>
          </a:p>
          <a:p>
            <a:pPr marL="285750" indent="-285750">
              <a:spcBef>
                <a:spcPts val="6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s-MX" sz="2400" dirty="0" err="1">
                <a:solidFill>
                  <a:schemeClr val="bg1"/>
                </a:solidFill>
              </a:rPr>
              <a:t>Economic</a:t>
            </a:r>
            <a:r>
              <a:rPr lang="es-MX" sz="2400" dirty="0">
                <a:solidFill>
                  <a:schemeClr val="bg1"/>
                </a:solidFill>
              </a:rPr>
              <a:t> </a:t>
            </a:r>
            <a:r>
              <a:rPr lang="es-MX" sz="2400" dirty="0" err="1">
                <a:solidFill>
                  <a:schemeClr val="bg1"/>
                </a:solidFill>
              </a:rPr>
              <a:t>Benefits</a:t>
            </a:r>
            <a:endParaRPr lang="es-MX" sz="2400" dirty="0">
              <a:solidFill>
                <a:schemeClr val="bg1"/>
              </a:solidFill>
            </a:endParaRPr>
          </a:p>
          <a:p>
            <a:pPr marL="285750" indent="-285750">
              <a:spcBef>
                <a:spcPts val="6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s-MX" sz="2400" dirty="0">
                <a:solidFill>
                  <a:schemeClr val="bg1"/>
                </a:solidFill>
              </a:rPr>
              <a:t>Machine </a:t>
            </a:r>
            <a:r>
              <a:rPr lang="es-MX" sz="2400" dirty="0" err="1">
                <a:solidFill>
                  <a:schemeClr val="bg1"/>
                </a:solidFill>
              </a:rPr>
              <a:t>Learning</a:t>
            </a:r>
            <a:r>
              <a:rPr lang="es-MX" sz="2400" dirty="0">
                <a:solidFill>
                  <a:schemeClr val="bg1"/>
                </a:solidFill>
              </a:rPr>
              <a:t> </a:t>
            </a:r>
            <a:r>
              <a:rPr lang="es-MX" sz="2400" dirty="0" err="1">
                <a:solidFill>
                  <a:schemeClr val="bg1"/>
                </a:solidFill>
              </a:rPr>
              <a:t>Analysis</a:t>
            </a:r>
            <a:r>
              <a:rPr lang="es-MX" sz="2400" dirty="0">
                <a:solidFill>
                  <a:schemeClr val="bg1"/>
                </a:solidFill>
              </a:rPr>
              <a:t> </a:t>
            </a:r>
            <a:r>
              <a:rPr lang="es-MX" sz="2400" dirty="0" err="1">
                <a:solidFill>
                  <a:schemeClr val="bg1"/>
                </a:solidFill>
              </a:rPr>
              <a:t>for</a:t>
            </a:r>
            <a:r>
              <a:rPr lang="es-MX" sz="2400" dirty="0">
                <a:solidFill>
                  <a:schemeClr val="bg1"/>
                </a:solidFill>
              </a:rPr>
              <a:t> </a:t>
            </a:r>
            <a:r>
              <a:rPr lang="es-MX" sz="2400" dirty="0" err="1">
                <a:solidFill>
                  <a:schemeClr val="bg1"/>
                </a:solidFill>
              </a:rPr>
              <a:t>Weather</a:t>
            </a:r>
            <a:r>
              <a:rPr lang="es-MX" sz="2400" dirty="0">
                <a:solidFill>
                  <a:schemeClr val="bg1"/>
                </a:solidFill>
              </a:rPr>
              <a:t> </a:t>
            </a:r>
            <a:r>
              <a:rPr lang="es-MX" sz="2400" dirty="0" err="1">
                <a:solidFill>
                  <a:schemeClr val="bg1"/>
                </a:solidFill>
              </a:rPr>
              <a:t>Forecasting</a:t>
            </a:r>
            <a:endParaRPr lang="es-MX" sz="2400" dirty="0">
              <a:solidFill>
                <a:schemeClr val="bg1"/>
              </a:solidFill>
            </a:endParaRPr>
          </a:p>
          <a:p>
            <a:pPr marL="285750" indent="-285750">
              <a:spcBef>
                <a:spcPts val="6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s-MX" sz="2400" dirty="0">
                <a:solidFill>
                  <a:schemeClr val="bg1"/>
                </a:solidFill>
              </a:rPr>
              <a:t>Social </a:t>
            </a:r>
            <a:r>
              <a:rPr lang="es-MX" sz="2400" dirty="0" err="1">
                <a:solidFill>
                  <a:schemeClr val="bg1"/>
                </a:solidFill>
              </a:rPr>
              <a:t>Benefits</a:t>
            </a:r>
            <a:r>
              <a:rPr lang="es-MX" sz="2400" dirty="0">
                <a:solidFill>
                  <a:schemeClr val="bg1"/>
                </a:solidFill>
              </a:rPr>
              <a:t> </a:t>
            </a:r>
            <a:r>
              <a:rPr lang="es-MX" sz="2400" dirty="0" err="1">
                <a:solidFill>
                  <a:schemeClr val="bg1"/>
                </a:solidFill>
              </a:rPr>
              <a:t>of</a:t>
            </a:r>
            <a:r>
              <a:rPr lang="es-MX" sz="2400" dirty="0">
                <a:solidFill>
                  <a:schemeClr val="bg1"/>
                </a:solidFill>
              </a:rPr>
              <a:t> </a:t>
            </a:r>
            <a:r>
              <a:rPr lang="es-MX" sz="2400" dirty="0" err="1">
                <a:solidFill>
                  <a:schemeClr val="bg1"/>
                </a:solidFill>
              </a:rPr>
              <a:t>Accurate</a:t>
            </a:r>
            <a:r>
              <a:rPr lang="es-MX" sz="2400" dirty="0">
                <a:solidFill>
                  <a:schemeClr val="bg1"/>
                </a:solidFill>
              </a:rPr>
              <a:t> </a:t>
            </a:r>
            <a:r>
              <a:rPr lang="es-MX" sz="2400" dirty="0" err="1">
                <a:solidFill>
                  <a:schemeClr val="bg1"/>
                </a:solidFill>
              </a:rPr>
              <a:t>Weather</a:t>
            </a:r>
            <a:r>
              <a:rPr lang="es-MX" sz="2400" dirty="0">
                <a:solidFill>
                  <a:schemeClr val="bg1"/>
                </a:solidFill>
              </a:rPr>
              <a:t> </a:t>
            </a:r>
            <a:r>
              <a:rPr lang="es-MX" sz="2400" dirty="0" err="1">
                <a:solidFill>
                  <a:schemeClr val="bg1"/>
                </a:solidFill>
              </a:rPr>
              <a:t>prediction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45771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4C0D4B0-591F-4380-9FC6-28DD22E9F5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72865" y="465142"/>
            <a:ext cx="4446269" cy="895983"/>
          </a:xfrm>
        </p:spPr>
        <p:txBody>
          <a:bodyPr/>
          <a:lstStyle/>
          <a:p>
            <a:pPr algn="ctr"/>
            <a:r>
              <a:rPr lang="es-MX" dirty="0" err="1"/>
              <a:t>Understanding</a:t>
            </a:r>
            <a:r>
              <a:rPr lang="es-MX" dirty="0"/>
              <a:t> </a:t>
            </a:r>
            <a:r>
              <a:rPr lang="es-MX" dirty="0" err="1"/>
              <a:t>the</a:t>
            </a:r>
            <a:r>
              <a:rPr lang="es-MX" dirty="0"/>
              <a:t> data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CD456ED-CC21-4B40-A5BF-322952E4BD9E}"/>
              </a:ext>
            </a:extLst>
          </p:cNvPr>
          <p:cNvSpPr txBox="1"/>
          <p:nvPr/>
        </p:nvSpPr>
        <p:spPr>
          <a:xfrm>
            <a:off x="3440903" y="1854938"/>
            <a:ext cx="2051428" cy="10772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b="1" dirty="0">
                <a:solidFill>
                  <a:schemeClr val="accent3"/>
                </a:solidFill>
              </a:rPr>
              <a:t>Temperature</a:t>
            </a:r>
            <a:endParaRPr lang="en-US" sz="1200" b="1" dirty="0">
              <a:solidFill>
                <a:schemeClr val="accent3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001980F-89E2-4D3E-926D-1AA9DF48069D}"/>
              </a:ext>
            </a:extLst>
          </p:cNvPr>
          <p:cNvSpPr txBox="1"/>
          <p:nvPr/>
        </p:nvSpPr>
        <p:spPr>
          <a:xfrm>
            <a:off x="1506096" y="2896809"/>
            <a:ext cx="2153518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8800" dirty="0">
                <a:solidFill>
                  <a:schemeClr val="accent2"/>
                </a:solidFill>
              </a:rPr>
              <a:t>0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C63CE85-CC60-4981-9347-F55077D5F5AB}"/>
              </a:ext>
            </a:extLst>
          </p:cNvPr>
          <p:cNvSpPr txBox="1"/>
          <p:nvPr/>
        </p:nvSpPr>
        <p:spPr>
          <a:xfrm>
            <a:off x="1506096" y="1629304"/>
            <a:ext cx="2153518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8800" dirty="0">
                <a:solidFill>
                  <a:schemeClr val="accent3"/>
                </a:solidFill>
              </a:rPr>
              <a:t>0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72D8049-1D3D-4970-9254-0C9461896A18}"/>
              </a:ext>
            </a:extLst>
          </p:cNvPr>
          <p:cNvSpPr txBox="1"/>
          <p:nvPr/>
        </p:nvSpPr>
        <p:spPr>
          <a:xfrm>
            <a:off x="7657077" y="1854938"/>
            <a:ext cx="2256571" cy="10772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b="1" dirty="0">
                <a:solidFill>
                  <a:srgbClr val="D0D0CE"/>
                </a:solidFill>
              </a:rPr>
              <a:t>Pressure</a:t>
            </a:r>
            <a:endParaRPr lang="en-GB" sz="1200" dirty="0">
              <a:solidFill>
                <a:srgbClr val="D0D0CE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98AFC8-A7C8-41EA-923D-EECCF61056D6}"/>
              </a:ext>
            </a:extLst>
          </p:cNvPr>
          <p:cNvSpPr txBox="1"/>
          <p:nvPr/>
        </p:nvSpPr>
        <p:spPr>
          <a:xfrm>
            <a:off x="5713627" y="1629304"/>
            <a:ext cx="2153518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8800" dirty="0">
                <a:solidFill>
                  <a:srgbClr val="D0D0CE"/>
                </a:solidFill>
              </a:rPr>
              <a:t>0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5DF087C-B046-4572-9EDD-C388701A8071}"/>
              </a:ext>
            </a:extLst>
          </p:cNvPr>
          <p:cNvSpPr txBox="1"/>
          <p:nvPr/>
        </p:nvSpPr>
        <p:spPr>
          <a:xfrm>
            <a:off x="1506096" y="4294539"/>
            <a:ext cx="2153518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8800" dirty="0">
                <a:solidFill>
                  <a:schemeClr val="accent1"/>
                </a:solidFill>
              </a:rPr>
              <a:t>0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1ED3F75-B80B-46C9-9FD0-1C3474DE6F63}"/>
              </a:ext>
            </a:extLst>
          </p:cNvPr>
          <p:cNvSpPr txBox="1"/>
          <p:nvPr/>
        </p:nvSpPr>
        <p:spPr>
          <a:xfrm>
            <a:off x="5713627" y="2896809"/>
            <a:ext cx="2153518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8800" dirty="0">
                <a:solidFill>
                  <a:schemeClr val="accent5"/>
                </a:solidFill>
              </a:rPr>
              <a:t>0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5223E4C-EE00-4887-A09E-CEB0FBBA9F94}"/>
              </a:ext>
            </a:extLst>
          </p:cNvPr>
          <p:cNvSpPr txBox="1"/>
          <p:nvPr/>
        </p:nvSpPr>
        <p:spPr>
          <a:xfrm>
            <a:off x="5713627" y="4294539"/>
            <a:ext cx="2153518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8800" dirty="0">
                <a:solidFill>
                  <a:schemeClr val="accent3"/>
                </a:solidFill>
              </a:rPr>
              <a:t>06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FAEE46F-F33B-46E2-A69D-31F5770EC704}"/>
              </a:ext>
            </a:extLst>
          </p:cNvPr>
          <p:cNvSpPr txBox="1"/>
          <p:nvPr/>
        </p:nvSpPr>
        <p:spPr>
          <a:xfrm>
            <a:off x="3440903" y="3164024"/>
            <a:ext cx="2051428" cy="10772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b="1" dirty="0">
                <a:solidFill>
                  <a:schemeClr val="accent2"/>
                </a:solidFill>
              </a:rPr>
              <a:t>Solar Radiation</a:t>
            </a:r>
            <a:endParaRPr lang="en-GB" dirty="0">
              <a:solidFill>
                <a:srgbClr val="53565A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4361544-057C-4290-9D07-81678FF9B841}"/>
              </a:ext>
            </a:extLst>
          </p:cNvPr>
          <p:cNvSpPr txBox="1"/>
          <p:nvPr/>
        </p:nvSpPr>
        <p:spPr>
          <a:xfrm>
            <a:off x="7657077" y="3164024"/>
            <a:ext cx="2256571" cy="10772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b="1" dirty="0">
                <a:solidFill>
                  <a:schemeClr val="accent5"/>
                </a:solidFill>
              </a:rPr>
              <a:t>Wind Direction</a:t>
            </a:r>
            <a:endParaRPr lang="en-GB" dirty="0">
              <a:solidFill>
                <a:srgbClr val="53565A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82DB82-B293-4521-BEA6-6DE94E3237C3}"/>
              </a:ext>
            </a:extLst>
          </p:cNvPr>
          <p:cNvSpPr txBox="1"/>
          <p:nvPr/>
        </p:nvSpPr>
        <p:spPr>
          <a:xfrm>
            <a:off x="3440903" y="4568595"/>
            <a:ext cx="2051428" cy="10772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b="1" dirty="0">
                <a:solidFill>
                  <a:schemeClr val="accent1"/>
                </a:solidFill>
              </a:rPr>
              <a:t>Humidity</a:t>
            </a:r>
            <a:endParaRPr lang="en-GB" sz="1200" b="1" dirty="0">
              <a:solidFill>
                <a:schemeClr val="accent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E2FE8B3-BC1C-481E-AA5F-4480DDE39726}"/>
              </a:ext>
            </a:extLst>
          </p:cNvPr>
          <p:cNvSpPr txBox="1"/>
          <p:nvPr/>
        </p:nvSpPr>
        <p:spPr>
          <a:xfrm>
            <a:off x="7657077" y="4568595"/>
            <a:ext cx="2256571" cy="10772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b="1" dirty="0">
                <a:solidFill>
                  <a:schemeClr val="accent3"/>
                </a:solidFill>
              </a:rPr>
              <a:t>Wind Speed</a:t>
            </a:r>
            <a:endParaRPr lang="en-GB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239556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5A17AB1-DD20-4083-A9D2-908A605D30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1651" y="5186207"/>
            <a:ext cx="4446269" cy="895983"/>
          </a:xfrm>
        </p:spPr>
        <p:txBody>
          <a:bodyPr anchor="b">
            <a:normAutofit/>
          </a:bodyPr>
          <a:lstStyle/>
          <a:p>
            <a:r>
              <a:rPr lang="es-MX" dirty="0"/>
              <a:t>Data </a:t>
            </a:r>
            <a:r>
              <a:rPr lang="es-MX" dirty="0" err="1"/>
              <a:t>Exploration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4AF65A1-FB9C-430C-A255-CAC0BB2F4773}"/>
              </a:ext>
            </a:extLst>
          </p:cNvPr>
          <p:cNvSpPr txBox="1"/>
          <p:nvPr/>
        </p:nvSpPr>
        <p:spPr>
          <a:xfrm>
            <a:off x="3388360" y="2759586"/>
            <a:ext cx="5415280" cy="1338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s-MX" dirty="0" err="1">
                <a:solidFill>
                  <a:schemeClr val="bg1"/>
                </a:solidFill>
              </a:rPr>
              <a:t>Temperature</a:t>
            </a:r>
            <a:r>
              <a:rPr lang="es-MX" dirty="0">
                <a:solidFill>
                  <a:schemeClr val="bg1"/>
                </a:solidFill>
              </a:rPr>
              <a:t> Vs. </a:t>
            </a:r>
            <a:r>
              <a:rPr lang="es-MX" dirty="0" err="1">
                <a:solidFill>
                  <a:schemeClr val="bg1"/>
                </a:solidFill>
              </a:rPr>
              <a:t>Radiation</a:t>
            </a:r>
            <a:r>
              <a:rPr lang="es-MX" dirty="0">
                <a:solidFill>
                  <a:schemeClr val="bg1"/>
                </a:solidFill>
              </a:rPr>
              <a:t>		0.56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s-MX" dirty="0" err="1">
                <a:solidFill>
                  <a:schemeClr val="bg1"/>
                </a:solidFill>
              </a:rPr>
              <a:t>Temperature</a:t>
            </a:r>
            <a:r>
              <a:rPr lang="es-MX" dirty="0">
                <a:solidFill>
                  <a:schemeClr val="bg1"/>
                </a:solidFill>
              </a:rPr>
              <a:t> Vs. </a:t>
            </a:r>
            <a:r>
              <a:rPr lang="es-MX" dirty="0" err="1">
                <a:solidFill>
                  <a:schemeClr val="bg1"/>
                </a:solidFill>
              </a:rPr>
              <a:t>Wind</a:t>
            </a:r>
            <a:r>
              <a:rPr lang="es-MX" dirty="0">
                <a:solidFill>
                  <a:schemeClr val="bg1"/>
                </a:solidFill>
              </a:rPr>
              <a:t> </a:t>
            </a:r>
            <a:r>
              <a:rPr lang="es-MX" dirty="0" err="1">
                <a:solidFill>
                  <a:schemeClr val="bg1"/>
                </a:solidFill>
              </a:rPr>
              <a:t>Speed</a:t>
            </a:r>
            <a:r>
              <a:rPr lang="es-MX" dirty="0">
                <a:solidFill>
                  <a:schemeClr val="bg1"/>
                </a:solidFill>
              </a:rPr>
              <a:t>	0.45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s-MX" dirty="0" err="1">
                <a:solidFill>
                  <a:schemeClr val="bg1"/>
                </a:solidFill>
              </a:rPr>
              <a:t>Temperature</a:t>
            </a:r>
            <a:r>
              <a:rPr lang="es-MX" dirty="0">
                <a:solidFill>
                  <a:schemeClr val="bg1"/>
                </a:solidFill>
              </a:rPr>
              <a:t> Vs. </a:t>
            </a:r>
            <a:r>
              <a:rPr lang="es-MX" dirty="0" err="1">
                <a:solidFill>
                  <a:schemeClr val="bg1"/>
                </a:solidFill>
              </a:rPr>
              <a:t>Pressure</a:t>
            </a:r>
            <a:r>
              <a:rPr lang="es-MX" dirty="0">
                <a:solidFill>
                  <a:schemeClr val="bg1"/>
                </a:solidFill>
              </a:rPr>
              <a:t>		-0.53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s-MX" dirty="0" err="1">
                <a:solidFill>
                  <a:schemeClr val="bg1"/>
                </a:solidFill>
              </a:rPr>
              <a:t>Temperature</a:t>
            </a:r>
            <a:r>
              <a:rPr lang="es-MX" dirty="0">
                <a:solidFill>
                  <a:schemeClr val="bg1"/>
                </a:solidFill>
              </a:rPr>
              <a:t> Vs. </a:t>
            </a:r>
            <a:r>
              <a:rPr lang="es-MX" dirty="0" err="1">
                <a:solidFill>
                  <a:schemeClr val="bg1"/>
                </a:solidFill>
              </a:rPr>
              <a:t>Humidity</a:t>
            </a:r>
            <a:r>
              <a:rPr lang="es-MX" dirty="0">
                <a:solidFill>
                  <a:schemeClr val="bg1"/>
                </a:solidFill>
              </a:rPr>
              <a:t> 		-0.75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9E0314E-10DD-4AAD-B906-BE8FB5E5897E}"/>
              </a:ext>
            </a:extLst>
          </p:cNvPr>
          <p:cNvSpPr txBox="1"/>
          <p:nvPr/>
        </p:nvSpPr>
        <p:spPr>
          <a:xfrm>
            <a:off x="3388360" y="1121790"/>
            <a:ext cx="444626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s-MX" sz="2400" b="1" dirty="0">
                <a:solidFill>
                  <a:schemeClr val="bg1"/>
                </a:solidFill>
              </a:rPr>
              <a:t>Pearson </a:t>
            </a:r>
            <a:r>
              <a:rPr lang="es-MX" sz="2400" b="1" dirty="0" err="1">
                <a:solidFill>
                  <a:schemeClr val="bg1"/>
                </a:solidFill>
              </a:rPr>
              <a:t>correlation</a:t>
            </a:r>
            <a:r>
              <a:rPr lang="es-MX" sz="2400" b="1" dirty="0">
                <a:solidFill>
                  <a:schemeClr val="bg1"/>
                </a:solidFill>
              </a:rPr>
              <a:t> </a:t>
            </a:r>
            <a:r>
              <a:rPr lang="es-MX" sz="2400" b="1" dirty="0" err="1">
                <a:solidFill>
                  <a:schemeClr val="bg1"/>
                </a:solidFill>
              </a:rPr>
              <a:t>Values</a:t>
            </a:r>
            <a:endParaRPr 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069969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hart&#10;&#10;Description automatically generated">
            <a:extLst>
              <a:ext uri="{FF2B5EF4-FFF2-40B4-BE49-F238E27FC236}">
                <a16:creationId xmlns:a16="http://schemas.microsoft.com/office/drawing/2014/main" id="{E1CB0E86-6AEC-4561-AD06-01BBFE2FDE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650" y="439305"/>
            <a:ext cx="11141075" cy="559839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4996659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hart&#10;&#10;Description automatically generated">
            <a:extLst>
              <a:ext uri="{FF2B5EF4-FFF2-40B4-BE49-F238E27FC236}">
                <a16:creationId xmlns:a16="http://schemas.microsoft.com/office/drawing/2014/main" id="{90EB6FEA-FEB6-45A7-A19D-67D2D239B8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650" y="467157"/>
            <a:ext cx="11141075" cy="554268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9074183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hart&#10;&#10;Description automatically generated">
            <a:extLst>
              <a:ext uri="{FF2B5EF4-FFF2-40B4-BE49-F238E27FC236}">
                <a16:creationId xmlns:a16="http://schemas.microsoft.com/office/drawing/2014/main" id="{AC7E1D25-B9ED-4B67-9768-B8D26B52782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650" y="425378"/>
            <a:ext cx="11141075" cy="56262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6580290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hart&#10;&#10;Description automatically generated">
            <a:extLst>
              <a:ext uri="{FF2B5EF4-FFF2-40B4-BE49-F238E27FC236}">
                <a16:creationId xmlns:a16="http://schemas.microsoft.com/office/drawing/2014/main" id="{05ADC382-D686-42D2-B387-BD2AC4635E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6847"/>
            <a:ext cx="12192000" cy="6044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74446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">
  <a:themeElements>
    <a:clrScheme name="Deloitte US Color1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09</TotalTime>
  <Words>141</Words>
  <Application>Microsoft Office PowerPoint</Application>
  <PresentationFormat>Widescreen</PresentationFormat>
  <Paragraphs>54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Calibri Light</vt:lpstr>
      <vt:lpstr>Verdana</vt:lpstr>
      <vt:lpstr>Wingdings 2</vt:lpstr>
      <vt:lpstr>Deloitte Brand Theme</vt:lpstr>
      <vt:lpstr>think-cell Slide</vt:lpstr>
      <vt:lpstr>Temperature Prediction</vt:lpstr>
      <vt:lpstr>PowerPoint Presentation</vt:lpstr>
      <vt:lpstr>Overview</vt:lpstr>
      <vt:lpstr>Understanding the data</vt:lpstr>
      <vt:lpstr>Data Exploration</vt:lpstr>
      <vt:lpstr>PowerPoint Presentation</vt:lpstr>
      <vt:lpstr>PowerPoint Presentation</vt:lpstr>
      <vt:lpstr>PowerPoint Presentation</vt:lpstr>
      <vt:lpstr>PowerPoint Presentation</vt:lpstr>
      <vt:lpstr>Training &amp; Testing</vt:lpstr>
      <vt:lpstr>Linear Regression</vt:lpstr>
      <vt:lpstr>Super Vector Regression </vt:lpstr>
      <vt:lpstr>Random Forest Regression</vt:lpstr>
      <vt:lpstr>What is next?</vt:lpstr>
      <vt:lpstr>Thanks for you attention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erature Prediction</dc:title>
  <dc:creator>Saracho Sandin, Luis Fernando</dc:creator>
  <cp:lastModifiedBy>Saracho Sandin, Luis Fernando</cp:lastModifiedBy>
  <cp:revision>1</cp:revision>
  <dcterms:created xsi:type="dcterms:W3CDTF">2023-04-03T19:14:02Z</dcterms:created>
  <dcterms:modified xsi:type="dcterms:W3CDTF">2023-04-06T20:43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4-03T19:14:02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35d91807-15b3-48fd-8d8e-bb80ac40801f</vt:lpwstr>
  </property>
  <property fmtid="{D5CDD505-2E9C-101B-9397-08002B2CF9AE}" pid="8" name="MSIP_Label_ea60d57e-af5b-4752-ac57-3e4f28ca11dc_ContentBits">
    <vt:lpwstr>0</vt:lpwstr>
  </property>
</Properties>
</file>